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</p:sldMasterIdLst>
  <p:notesMasterIdLst>
    <p:notesMasterId r:id="rId16"/>
  </p:notesMasterIdLst>
  <p:sldIdLst>
    <p:sldId id="1722" r:id="rId2"/>
    <p:sldId id="1731" r:id="rId3"/>
    <p:sldId id="1635" r:id="rId4"/>
    <p:sldId id="2260" r:id="rId5"/>
    <p:sldId id="1482" r:id="rId6"/>
    <p:sldId id="1091" r:id="rId7"/>
    <p:sldId id="1171" r:id="rId8"/>
    <p:sldId id="1483" r:id="rId9"/>
    <p:sldId id="1726" r:id="rId10"/>
    <p:sldId id="1593" r:id="rId11"/>
    <p:sldId id="1728" r:id="rId12"/>
    <p:sldId id="2262" r:id="rId13"/>
    <p:sldId id="2263" r:id="rId14"/>
    <p:sldId id="2264" r:id="rId15"/>
  </p:sldIdLst>
  <p:sldSz cx="12192000" cy="6858000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00FF00"/>
    <a:srgbClr val="0000FF"/>
    <a:srgbClr val="000000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6327" autoAdjust="0"/>
  </p:normalViewPr>
  <p:slideViewPr>
    <p:cSldViewPr snapToGrid="0">
      <p:cViewPr varScale="1">
        <p:scale>
          <a:sx n="106" d="100"/>
          <a:sy n="106" d="100"/>
        </p:scale>
        <p:origin x="240" y="108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775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6820456364392533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8.8770528184642702E-3"/>
                  <c:y val="-9.3251132826876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11220385068377"/>
                      <c:h val="4.18791204655948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6.05.21</c:v>
                </c:pt>
                <c:pt idx="1">
                  <c:v>07.05.21</c:v>
                </c:pt>
                <c:pt idx="2">
                  <c:v>08.05.21</c:v>
                </c:pt>
                <c:pt idx="3">
                  <c:v>09.05.21</c:v>
                </c:pt>
                <c:pt idx="4">
                  <c:v>10.05.21</c:v>
                </c:pt>
                <c:pt idx="5">
                  <c:v>11.05.21</c:v>
                </c:pt>
                <c:pt idx="6">
                  <c:v>12.05.21</c:v>
                </c:pt>
                <c:pt idx="7">
                  <c:v>13.05.21</c:v>
                </c:pt>
                <c:pt idx="8">
                  <c:v>14.05.21</c:v>
                </c:pt>
                <c:pt idx="9">
                  <c:v>15.05.21</c:v>
                </c:pt>
                <c:pt idx="10">
                  <c:v>16.05.21</c:v>
                </c:pt>
                <c:pt idx="11">
                  <c:v>17.05.21</c:v>
                </c:pt>
                <c:pt idx="12">
                  <c:v>18.05.21</c:v>
                </c:pt>
                <c:pt idx="13">
                  <c:v>19.05.21</c:v>
                </c:pt>
                <c:pt idx="14">
                  <c:v>20.05.21</c:v>
                </c:pt>
                <c:pt idx="15">
                  <c:v>21.05.21</c:v>
                </c:pt>
                <c:pt idx="16">
                  <c:v>22.05.21</c:v>
                </c:pt>
                <c:pt idx="17">
                  <c:v>23.05.21</c:v>
                </c:pt>
                <c:pt idx="18">
                  <c:v>24.05.21</c:v>
                </c:pt>
                <c:pt idx="19">
                  <c:v>25.05.21</c:v>
                </c:pt>
                <c:pt idx="20">
                  <c:v>26.05.21</c:v>
                </c:pt>
                <c:pt idx="21">
                  <c:v>27.05.21</c:v>
                </c:pt>
                <c:pt idx="22">
                  <c:v>28.05.21</c:v>
                </c:pt>
                <c:pt idx="23">
                  <c:v>29.05.21</c:v>
                </c:pt>
                <c:pt idx="24">
                  <c:v>30.05.21</c:v>
                </c:pt>
                <c:pt idx="25">
                  <c:v>31.05.21</c:v>
                </c:pt>
                <c:pt idx="26">
                  <c:v>01.06.21</c:v>
                </c:pt>
                <c:pt idx="27">
                  <c:v>02.06.21</c:v>
                </c:pt>
                <c:pt idx="28">
                  <c:v>03.06.21</c:v>
                </c:pt>
                <c:pt idx="29">
                  <c:v>04.06.21</c:v>
                </c:pt>
                <c:pt idx="30">
                  <c:v>05.06.21</c:v>
                </c:pt>
                <c:pt idx="31">
                  <c:v>06.06.21</c:v>
                </c:pt>
                <c:pt idx="32">
                  <c:v>07.06.21</c:v>
                </c:pt>
                <c:pt idx="33">
                  <c:v>08.06.21</c:v>
                </c:pt>
                <c:pt idx="34">
                  <c:v>09.06.21</c:v>
                </c:pt>
                <c:pt idx="35">
                  <c:v>10.06.21</c:v>
                </c:pt>
                <c:pt idx="36">
                  <c:v>11.06.21</c:v>
                </c:pt>
                <c:pt idx="37">
                  <c:v>12.06.21</c:v>
                </c:pt>
                <c:pt idx="38">
                  <c:v>13.06.21</c:v>
                </c:pt>
                <c:pt idx="39">
                  <c:v>14.06.21</c:v>
                </c:pt>
                <c:pt idx="40">
                  <c:v>15.06.21</c:v>
                </c:pt>
                <c:pt idx="41">
                  <c:v>16.06.21</c:v>
                </c:pt>
                <c:pt idx="42">
                  <c:v>17.06.21</c:v>
                </c:pt>
                <c:pt idx="43">
                  <c:v>18.06.21</c:v>
                </c:pt>
                <c:pt idx="44">
                  <c:v>19.06.21</c:v>
                </c:pt>
                <c:pt idx="45">
                  <c:v>20.06.21</c:v>
                </c:pt>
                <c:pt idx="46">
                  <c:v>21.06.21</c:v>
                </c:pt>
                <c:pt idx="47">
                  <c:v>22.06.21</c:v>
                </c:pt>
                <c:pt idx="48">
                  <c:v>23.06.21</c:v>
                </c:pt>
                <c:pt idx="49">
                  <c:v>24.06.21</c:v>
                </c:pt>
                <c:pt idx="50">
                  <c:v>25.06.21</c:v>
                </c:pt>
                <c:pt idx="51">
                  <c:v>26.06.21</c:v>
                </c:pt>
                <c:pt idx="52">
                  <c:v>27.06.21</c:v>
                </c:pt>
                <c:pt idx="53">
                  <c:v>28.06.21</c:v>
                </c:pt>
                <c:pt idx="54">
                  <c:v>29.06.21</c:v>
                </c:pt>
                <c:pt idx="55">
                  <c:v>30.06.21</c:v>
                </c:pt>
                <c:pt idx="56">
                  <c:v>01.07.21</c:v>
                </c:pt>
                <c:pt idx="57">
                  <c:v>02.07.21</c:v>
                </c:pt>
                <c:pt idx="58">
                  <c:v>03.07.21</c:v>
                </c:pt>
                <c:pt idx="59">
                  <c:v>04.07.21</c:v>
                </c:pt>
                <c:pt idx="60">
                  <c:v>05.07.21</c:v>
                </c:pt>
                <c:pt idx="61">
                  <c:v>06.07.21</c:v>
                </c:pt>
                <c:pt idx="62">
                  <c:v>07.07.21</c:v>
                </c:pt>
                <c:pt idx="63">
                  <c:v>08.07.21</c:v>
                </c:pt>
                <c:pt idx="64">
                  <c:v>09.07.21</c:v>
                </c:pt>
                <c:pt idx="65">
                  <c:v>10.07.21</c:v>
                </c:pt>
                <c:pt idx="66">
                  <c:v>11.07.21</c:v>
                </c:pt>
                <c:pt idx="67">
                  <c:v>12.07.21</c:v>
                </c:pt>
                <c:pt idx="68">
                  <c:v>13.07.21</c:v>
                </c:pt>
                <c:pt idx="69">
                  <c:v>14.07.21</c:v>
                </c:pt>
                <c:pt idx="70">
                  <c:v>15.07.21</c:v>
                </c:pt>
                <c:pt idx="71">
                  <c:v>16.07.21</c:v>
                </c:pt>
                <c:pt idx="72">
                  <c:v>17.07.21</c:v>
                </c:pt>
                <c:pt idx="73">
                  <c:v>18.07.21</c:v>
                </c:pt>
                <c:pt idx="74">
                  <c:v>19.07.21</c:v>
                </c:pt>
                <c:pt idx="75">
                  <c:v>20.07.21</c:v>
                </c:pt>
                <c:pt idx="76">
                  <c:v>21.07.21</c:v>
                </c:pt>
                <c:pt idx="77">
                  <c:v>22.07.21</c:v>
                </c:pt>
                <c:pt idx="78">
                  <c:v>23.07.21</c:v>
                </c:pt>
                <c:pt idx="79">
                  <c:v>24.07.21</c:v>
                </c:pt>
                <c:pt idx="80">
                  <c:v>25.07.21</c:v>
                </c:pt>
                <c:pt idx="81">
                  <c:v>26.07.21</c:v>
                </c:pt>
                <c:pt idx="82">
                  <c:v>27.07.21</c:v>
                </c:pt>
                <c:pt idx="83">
                  <c:v>28.07.21</c:v>
                </c:pt>
                <c:pt idx="84">
                  <c:v>29.07.21</c:v>
                </c:pt>
                <c:pt idx="85">
                  <c:v>30.07.21</c:v>
                </c:pt>
                <c:pt idx="86">
                  <c:v>31.07.21</c:v>
                </c:pt>
                <c:pt idx="87">
                  <c:v>01.08.21</c:v>
                </c:pt>
                <c:pt idx="88">
                  <c:v>02.08.21</c:v>
                </c:pt>
                <c:pt idx="89">
                  <c:v>03.08.21</c:v>
                </c:pt>
                <c:pt idx="90">
                  <c:v>04.08.21</c:v>
                </c:pt>
                <c:pt idx="91">
                  <c:v>05.08.21</c:v>
                </c:pt>
                <c:pt idx="92">
                  <c:v>06.08.21</c:v>
                </c:pt>
                <c:pt idx="93">
                  <c:v>07.08.21</c:v>
                </c:pt>
                <c:pt idx="94">
                  <c:v>08.08.21</c:v>
                </c:pt>
                <c:pt idx="95">
                  <c:v>09.08.21</c:v>
                </c:pt>
                <c:pt idx="96">
                  <c:v>10.08.21</c:v>
                </c:pt>
                <c:pt idx="97">
                  <c:v>11.08.21</c:v>
                </c:pt>
                <c:pt idx="98">
                  <c:v>12.08.21</c:v>
                </c:pt>
                <c:pt idx="99">
                  <c:v>13.08.21</c:v>
                </c:pt>
                <c:pt idx="100">
                  <c:v>14.08.21</c:v>
                </c:pt>
                <c:pt idx="101">
                  <c:v>15.08.21</c:v>
                </c:pt>
                <c:pt idx="102">
                  <c:v>16.08.21</c:v>
                </c:pt>
                <c:pt idx="103">
                  <c:v>17.08.21</c:v>
                </c:pt>
                <c:pt idx="104">
                  <c:v>18.08.21</c:v>
                </c:pt>
                <c:pt idx="105">
                  <c:v>19.08.21</c:v>
                </c:pt>
                <c:pt idx="106">
                  <c:v>20.08.21</c:v>
                </c:pt>
                <c:pt idx="107">
                  <c:v>21.08.21</c:v>
                </c:pt>
                <c:pt idx="108">
                  <c:v>22.08.21</c:v>
                </c:pt>
                <c:pt idx="109">
                  <c:v>23.08.21</c:v>
                </c:pt>
                <c:pt idx="110">
                  <c:v>24.08.21</c:v>
                </c:pt>
                <c:pt idx="111">
                  <c:v>25.08.21</c:v>
                </c:pt>
                <c:pt idx="112">
                  <c:v>26.08.21</c:v>
                </c:pt>
                <c:pt idx="113">
                  <c:v>27.08.21</c:v>
                </c:pt>
                <c:pt idx="114">
                  <c:v>28.08.21</c:v>
                </c:pt>
                <c:pt idx="115">
                  <c:v>29.08.21</c:v>
                </c:pt>
                <c:pt idx="116">
                  <c:v>30.08.21</c:v>
                </c:pt>
                <c:pt idx="117">
                  <c:v>31.08.21</c:v>
                </c:pt>
                <c:pt idx="118">
                  <c:v>01.09.21</c:v>
                </c:pt>
                <c:pt idx="119">
                  <c:v>02.09.21</c:v>
                </c:pt>
                <c:pt idx="120">
                  <c:v>03.09.21</c:v>
                </c:pt>
                <c:pt idx="121">
                  <c:v>04.09.21</c:v>
                </c:pt>
                <c:pt idx="122">
                  <c:v>05.09.21</c:v>
                </c:pt>
                <c:pt idx="123">
                  <c:v>06.09.21</c:v>
                </c:pt>
                <c:pt idx="124">
                  <c:v>07.09.21</c:v>
                </c:pt>
                <c:pt idx="125">
                  <c:v>08.09.21</c:v>
                </c:pt>
                <c:pt idx="126">
                  <c:v>09.09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0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0</c:v>
                </c:pt>
                <c:pt idx="11">
                  <c:v>1</c:v>
                </c:pt>
                <c:pt idx="12">
                  <c:v>2</c:v>
                </c:pt>
                <c:pt idx="13">
                  <c:v>3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1</c:v>
                </c:pt>
                <c:pt idx="57">
                  <c:v>0</c:v>
                </c:pt>
                <c:pt idx="58">
                  <c:v>0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2</c:v>
                </c:pt>
                <c:pt idx="65">
                  <c:v>0</c:v>
                </c:pt>
                <c:pt idx="66">
                  <c:v>0</c:v>
                </c:pt>
                <c:pt idx="67">
                  <c:v>2</c:v>
                </c:pt>
                <c:pt idx="68">
                  <c:v>1</c:v>
                </c:pt>
                <c:pt idx="69">
                  <c:v>0</c:v>
                </c:pt>
                <c:pt idx="70">
                  <c:v>0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4</c:v>
                </c:pt>
                <c:pt idx="78">
                  <c:v>0</c:v>
                </c:pt>
                <c:pt idx="79">
                  <c:v>0</c:v>
                </c:pt>
                <c:pt idx="80">
                  <c:v>1</c:v>
                </c:pt>
                <c:pt idx="81">
                  <c:v>3</c:v>
                </c:pt>
                <c:pt idx="82">
                  <c:v>1</c:v>
                </c:pt>
                <c:pt idx="83">
                  <c:v>1</c:v>
                </c:pt>
                <c:pt idx="84">
                  <c:v>2</c:v>
                </c:pt>
                <c:pt idx="85">
                  <c:v>2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6</c:v>
                </c:pt>
                <c:pt idx="91">
                  <c:v>1</c:v>
                </c:pt>
                <c:pt idx="92">
                  <c:v>2</c:v>
                </c:pt>
                <c:pt idx="93">
                  <c:v>0</c:v>
                </c:pt>
                <c:pt idx="94">
                  <c:v>2</c:v>
                </c:pt>
                <c:pt idx="95">
                  <c:v>2</c:v>
                </c:pt>
                <c:pt idx="96">
                  <c:v>0</c:v>
                </c:pt>
                <c:pt idx="97">
                  <c:v>3</c:v>
                </c:pt>
                <c:pt idx="98">
                  <c:v>1</c:v>
                </c:pt>
                <c:pt idx="99">
                  <c:v>1</c:v>
                </c:pt>
                <c:pt idx="100">
                  <c:v>0</c:v>
                </c:pt>
                <c:pt idx="101">
                  <c:v>0</c:v>
                </c:pt>
                <c:pt idx="102">
                  <c:v>3</c:v>
                </c:pt>
                <c:pt idx="103">
                  <c:v>0</c:v>
                </c:pt>
                <c:pt idx="104">
                  <c:v>0</c:v>
                </c:pt>
                <c:pt idx="105">
                  <c:v>1</c:v>
                </c:pt>
                <c:pt idx="106">
                  <c:v>1</c:v>
                </c:pt>
                <c:pt idx="107">
                  <c:v>0</c:v>
                </c:pt>
                <c:pt idx="108">
                  <c:v>0</c:v>
                </c:pt>
                <c:pt idx="109">
                  <c:v>2</c:v>
                </c:pt>
                <c:pt idx="110">
                  <c:v>0</c:v>
                </c:pt>
                <c:pt idx="111">
                  <c:v>1</c:v>
                </c:pt>
                <c:pt idx="112">
                  <c:v>1</c:v>
                </c:pt>
                <c:pt idx="113">
                  <c:v>0</c:v>
                </c:pt>
                <c:pt idx="114">
                  <c:v>1</c:v>
                </c:pt>
                <c:pt idx="115">
                  <c:v>0</c:v>
                </c:pt>
                <c:pt idx="116">
                  <c:v>0</c:v>
                </c:pt>
                <c:pt idx="117">
                  <c:v>4</c:v>
                </c:pt>
                <c:pt idx="118">
                  <c:v>4</c:v>
                </c:pt>
                <c:pt idx="119">
                  <c:v>1</c:v>
                </c:pt>
                <c:pt idx="120">
                  <c:v>1</c:v>
                </c:pt>
                <c:pt idx="121">
                  <c:v>3</c:v>
                </c:pt>
                <c:pt idx="122">
                  <c:v>1</c:v>
                </c:pt>
                <c:pt idx="123">
                  <c:v>0</c:v>
                </c:pt>
                <c:pt idx="124">
                  <c:v>2</c:v>
                </c:pt>
                <c:pt idx="125">
                  <c:v>0</c:v>
                </c:pt>
                <c:pt idx="12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5.3262316910785623E-3"/>
                  <c:y val="-5.6936424938805654E-3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28009897564401"/>
                      <c:h val="7.662379500904517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6.05.21</c:v>
                </c:pt>
                <c:pt idx="1">
                  <c:v>07.05.21</c:v>
                </c:pt>
                <c:pt idx="2">
                  <c:v>08.05.21</c:v>
                </c:pt>
                <c:pt idx="3">
                  <c:v>09.05.21</c:v>
                </c:pt>
                <c:pt idx="4">
                  <c:v>10.05.21</c:v>
                </c:pt>
                <c:pt idx="5">
                  <c:v>11.05.21</c:v>
                </c:pt>
                <c:pt idx="6">
                  <c:v>12.05.21</c:v>
                </c:pt>
                <c:pt idx="7">
                  <c:v>13.05.21</c:v>
                </c:pt>
                <c:pt idx="8">
                  <c:v>14.05.21</c:v>
                </c:pt>
                <c:pt idx="9">
                  <c:v>15.05.21</c:v>
                </c:pt>
                <c:pt idx="10">
                  <c:v>16.05.21</c:v>
                </c:pt>
                <c:pt idx="11">
                  <c:v>17.05.21</c:v>
                </c:pt>
                <c:pt idx="12">
                  <c:v>18.05.21</c:v>
                </c:pt>
                <c:pt idx="13">
                  <c:v>19.05.21</c:v>
                </c:pt>
                <c:pt idx="14">
                  <c:v>20.05.21</c:v>
                </c:pt>
                <c:pt idx="15">
                  <c:v>21.05.21</c:v>
                </c:pt>
                <c:pt idx="16">
                  <c:v>22.05.21</c:v>
                </c:pt>
                <c:pt idx="17">
                  <c:v>23.05.21</c:v>
                </c:pt>
                <c:pt idx="18">
                  <c:v>24.05.21</c:v>
                </c:pt>
                <c:pt idx="19">
                  <c:v>25.05.21</c:v>
                </c:pt>
                <c:pt idx="20">
                  <c:v>26.05.21</c:v>
                </c:pt>
                <c:pt idx="21">
                  <c:v>27.05.21</c:v>
                </c:pt>
                <c:pt idx="22">
                  <c:v>28.05.21</c:v>
                </c:pt>
                <c:pt idx="23">
                  <c:v>29.05.21</c:v>
                </c:pt>
                <c:pt idx="24">
                  <c:v>30.05.21</c:v>
                </c:pt>
                <c:pt idx="25">
                  <c:v>31.05.21</c:v>
                </c:pt>
                <c:pt idx="26">
                  <c:v>01.06.21</c:v>
                </c:pt>
                <c:pt idx="27">
                  <c:v>02.06.21</c:v>
                </c:pt>
                <c:pt idx="28">
                  <c:v>03.06.21</c:v>
                </c:pt>
                <c:pt idx="29">
                  <c:v>04.06.21</c:v>
                </c:pt>
                <c:pt idx="30">
                  <c:v>05.06.21</c:v>
                </c:pt>
                <c:pt idx="31">
                  <c:v>06.06.21</c:v>
                </c:pt>
                <c:pt idx="32">
                  <c:v>07.06.21</c:v>
                </c:pt>
                <c:pt idx="33">
                  <c:v>08.06.21</c:v>
                </c:pt>
                <c:pt idx="34">
                  <c:v>09.06.21</c:v>
                </c:pt>
                <c:pt idx="35">
                  <c:v>10.06.21</c:v>
                </c:pt>
                <c:pt idx="36">
                  <c:v>11.06.21</c:v>
                </c:pt>
                <c:pt idx="37">
                  <c:v>12.06.21</c:v>
                </c:pt>
                <c:pt idx="38">
                  <c:v>13.06.21</c:v>
                </c:pt>
                <c:pt idx="39">
                  <c:v>14.06.21</c:v>
                </c:pt>
                <c:pt idx="40">
                  <c:v>15.06.21</c:v>
                </c:pt>
                <c:pt idx="41">
                  <c:v>16.06.21</c:v>
                </c:pt>
                <c:pt idx="42">
                  <c:v>17.06.21</c:v>
                </c:pt>
                <c:pt idx="43">
                  <c:v>18.06.21</c:v>
                </c:pt>
                <c:pt idx="44">
                  <c:v>19.06.21</c:v>
                </c:pt>
                <c:pt idx="45">
                  <c:v>20.06.21</c:v>
                </c:pt>
                <c:pt idx="46">
                  <c:v>21.06.21</c:v>
                </c:pt>
                <c:pt idx="47">
                  <c:v>22.06.21</c:v>
                </c:pt>
                <c:pt idx="48">
                  <c:v>23.06.21</c:v>
                </c:pt>
                <c:pt idx="49">
                  <c:v>24.06.21</c:v>
                </c:pt>
                <c:pt idx="50">
                  <c:v>25.06.21</c:v>
                </c:pt>
                <c:pt idx="51">
                  <c:v>26.06.21</c:v>
                </c:pt>
                <c:pt idx="52">
                  <c:v>27.06.21</c:v>
                </c:pt>
                <c:pt idx="53">
                  <c:v>28.06.21</c:v>
                </c:pt>
                <c:pt idx="54">
                  <c:v>29.06.21</c:v>
                </c:pt>
                <c:pt idx="55">
                  <c:v>30.06.21</c:v>
                </c:pt>
                <c:pt idx="56">
                  <c:v>01.07.21</c:v>
                </c:pt>
                <c:pt idx="57">
                  <c:v>02.07.21</c:v>
                </c:pt>
                <c:pt idx="58">
                  <c:v>03.07.21</c:v>
                </c:pt>
                <c:pt idx="59">
                  <c:v>04.07.21</c:v>
                </c:pt>
                <c:pt idx="60">
                  <c:v>05.07.21</c:v>
                </c:pt>
                <c:pt idx="61">
                  <c:v>06.07.21</c:v>
                </c:pt>
                <c:pt idx="62">
                  <c:v>07.07.21</c:v>
                </c:pt>
                <c:pt idx="63">
                  <c:v>08.07.21</c:v>
                </c:pt>
                <c:pt idx="64">
                  <c:v>09.07.21</c:v>
                </c:pt>
                <c:pt idx="65">
                  <c:v>10.07.21</c:v>
                </c:pt>
                <c:pt idx="66">
                  <c:v>11.07.21</c:v>
                </c:pt>
                <c:pt idx="67">
                  <c:v>12.07.21</c:v>
                </c:pt>
                <c:pt idx="68">
                  <c:v>13.07.21</c:v>
                </c:pt>
                <c:pt idx="69">
                  <c:v>14.07.21</c:v>
                </c:pt>
                <c:pt idx="70">
                  <c:v>15.07.21</c:v>
                </c:pt>
                <c:pt idx="71">
                  <c:v>16.07.21</c:v>
                </c:pt>
                <c:pt idx="72">
                  <c:v>17.07.21</c:v>
                </c:pt>
                <c:pt idx="73">
                  <c:v>18.07.21</c:v>
                </c:pt>
                <c:pt idx="74">
                  <c:v>19.07.21</c:v>
                </c:pt>
                <c:pt idx="75">
                  <c:v>20.07.21</c:v>
                </c:pt>
                <c:pt idx="76">
                  <c:v>21.07.21</c:v>
                </c:pt>
                <c:pt idx="77">
                  <c:v>22.07.21</c:v>
                </c:pt>
                <c:pt idx="78">
                  <c:v>23.07.21</c:v>
                </c:pt>
                <c:pt idx="79">
                  <c:v>24.07.21</c:v>
                </c:pt>
                <c:pt idx="80">
                  <c:v>25.07.21</c:v>
                </c:pt>
                <c:pt idx="81">
                  <c:v>26.07.21</c:v>
                </c:pt>
                <c:pt idx="82">
                  <c:v>27.07.21</c:v>
                </c:pt>
                <c:pt idx="83">
                  <c:v>28.07.21</c:v>
                </c:pt>
                <c:pt idx="84">
                  <c:v>29.07.21</c:v>
                </c:pt>
                <c:pt idx="85">
                  <c:v>30.07.21</c:v>
                </c:pt>
                <c:pt idx="86">
                  <c:v>31.07.21</c:v>
                </c:pt>
                <c:pt idx="87">
                  <c:v>01.08.21</c:v>
                </c:pt>
                <c:pt idx="88">
                  <c:v>02.08.21</c:v>
                </c:pt>
                <c:pt idx="89">
                  <c:v>03.08.21</c:v>
                </c:pt>
                <c:pt idx="90">
                  <c:v>04.08.21</c:v>
                </c:pt>
                <c:pt idx="91">
                  <c:v>05.08.21</c:v>
                </c:pt>
                <c:pt idx="92">
                  <c:v>06.08.21</c:v>
                </c:pt>
                <c:pt idx="93">
                  <c:v>07.08.21</c:v>
                </c:pt>
                <c:pt idx="94">
                  <c:v>08.08.21</c:v>
                </c:pt>
                <c:pt idx="95">
                  <c:v>09.08.21</c:v>
                </c:pt>
                <c:pt idx="96">
                  <c:v>10.08.21</c:v>
                </c:pt>
                <c:pt idx="97">
                  <c:v>11.08.21</c:v>
                </c:pt>
                <c:pt idx="98">
                  <c:v>12.08.21</c:v>
                </c:pt>
                <c:pt idx="99">
                  <c:v>13.08.21</c:v>
                </c:pt>
                <c:pt idx="100">
                  <c:v>14.08.21</c:v>
                </c:pt>
                <c:pt idx="101">
                  <c:v>15.08.21</c:v>
                </c:pt>
                <c:pt idx="102">
                  <c:v>16.08.21</c:v>
                </c:pt>
                <c:pt idx="103">
                  <c:v>17.08.21</c:v>
                </c:pt>
                <c:pt idx="104">
                  <c:v>18.08.21</c:v>
                </c:pt>
                <c:pt idx="105">
                  <c:v>19.08.21</c:v>
                </c:pt>
                <c:pt idx="106">
                  <c:v>20.08.21</c:v>
                </c:pt>
                <c:pt idx="107">
                  <c:v>21.08.21</c:v>
                </c:pt>
                <c:pt idx="108">
                  <c:v>22.08.21</c:v>
                </c:pt>
                <c:pt idx="109">
                  <c:v>23.08.21</c:v>
                </c:pt>
                <c:pt idx="110">
                  <c:v>24.08.21</c:v>
                </c:pt>
                <c:pt idx="111">
                  <c:v>25.08.21</c:v>
                </c:pt>
                <c:pt idx="112">
                  <c:v>26.08.21</c:v>
                </c:pt>
                <c:pt idx="113">
                  <c:v>27.08.21</c:v>
                </c:pt>
                <c:pt idx="114">
                  <c:v>28.08.21</c:v>
                </c:pt>
                <c:pt idx="115">
                  <c:v>29.08.21</c:v>
                </c:pt>
                <c:pt idx="116">
                  <c:v>30.08.21</c:v>
                </c:pt>
                <c:pt idx="117">
                  <c:v>31.08.21</c:v>
                </c:pt>
                <c:pt idx="118">
                  <c:v>01.09.21</c:v>
                </c:pt>
                <c:pt idx="119">
                  <c:v>02.09.21</c:v>
                </c:pt>
                <c:pt idx="120">
                  <c:v>03.09.21</c:v>
                </c:pt>
                <c:pt idx="121">
                  <c:v>04.09.21</c:v>
                </c:pt>
                <c:pt idx="122">
                  <c:v>05.09.21</c:v>
                </c:pt>
                <c:pt idx="123">
                  <c:v>06.09.21</c:v>
                </c:pt>
                <c:pt idx="124">
                  <c:v>07.09.21</c:v>
                </c:pt>
                <c:pt idx="125">
                  <c:v>08.09.21</c:v>
                </c:pt>
                <c:pt idx="126">
                  <c:v>09.09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6</c:v>
                </c:pt>
                <c:pt idx="1">
                  <c:v>13</c:v>
                </c:pt>
                <c:pt idx="2">
                  <c:v>4</c:v>
                </c:pt>
                <c:pt idx="3">
                  <c:v>3</c:v>
                </c:pt>
                <c:pt idx="4">
                  <c:v>10</c:v>
                </c:pt>
                <c:pt idx="5">
                  <c:v>18</c:v>
                </c:pt>
                <c:pt idx="6">
                  <c:v>5</c:v>
                </c:pt>
                <c:pt idx="7">
                  <c:v>9</c:v>
                </c:pt>
                <c:pt idx="8">
                  <c:v>7</c:v>
                </c:pt>
                <c:pt idx="9">
                  <c:v>1</c:v>
                </c:pt>
                <c:pt idx="10">
                  <c:v>1</c:v>
                </c:pt>
                <c:pt idx="11">
                  <c:v>7</c:v>
                </c:pt>
                <c:pt idx="12">
                  <c:v>3</c:v>
                </c:pt>
                <c:pt idx="13">
                  <c:v>2</c:v>
                </c:pt>
                <c:pt idx="14">
                  <c:v>6</c:v>
                </c:pt>
                <c:pt idx="15">
                  <c:v>3</c:v>
                </c:pt>
                <c:pt idx="16">
                  <c:v>2</c:v>
                </c:pt>
                <c:pt idx="17">
                  <c:v>0</c:v>
                </c:pt>
                <c:pt idx="18">
                  <c:v>2</c:v>
                </c:pt>
                <c:pt idx="19">
                  <c:v>4</c:v>
                </c:pt>
                <c:pt idx="20">
                  <c:v>5</c:v>
                </c:pt>
                <c:pt idx="21">
                  <c:v>2</c:v>
                </c:pt>
                <c:pt idx="22">
                  <c:v>3</c:v>
                </c:pt>
                <c:pt idx="23">
                  <c:v>0</c:v>
                </c:pt>
                <c:pt idx="24">
                  <c:v>0</c:v>
                </c:pt>
                <c:pt idx="25">
                  <c:v>3</c:v>
                </c:pt>
                <c:pt idx="26">
                  <c:v>1</c:v>
                </c:pt>
                <c:pt idx="27">
                  <c:v>0</c:v>
                </c:pt>
                <c:pt idx="28">
                  <c:v>5</c:v>
                </c:pt>
                <c:pt idx="29">
                  <c:v>1</c:v>
                </c:pt>
                <c:pt idx="30">
                  <c:v>0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1</c:v>
                </c:pt>
                <c:pt idx="38">
                  <c:v>2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2</c:v>
                </c:pt>
                <c:pt idx="43">
                  <c:v>3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0</c:v>
                </c:pt>
                <c:pt idx="51">
                  <c:v>0</c:v>
                </c:pt>
                <c:pt idx="52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0</c:v>
                </c:pt>
                <c:pt idx="56">
                  <c:v>1</c:v>
                </c:pt>
                <c:pt idx="57">
                  <c:v>2</c:v>
                </c:pt>
                <c:pt idx="58">
                  <c:v>0</c:v>
                </c:pt>
                <c:pt idx="59">
                  <c:v>1</c:v>
                </c:pt>
                <c:pt idx="60">
                  <c:v>4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1</c:v>
                </c:pt>
                <c:pt idx="65">
                  <c:v>0</c:v>
                </c:pt>
                <c:pt idx="66">
                  <c:v>0</c:v>
                </c:pt>
                <c:pt idx="67">
                  <c:v>2</c:v>
                </c:pt>
                <c:pt idx="68">
                  <c:v>3</c:v>
                </c:pt>
                <c:pt idx="69">
                  <c:v>2</c:v>
                </c:pt>
                <c:pt idx="70">
                  <c:v>2</c:v>
                </c:pt>
                <c:pt idx="71">
                  <c:v>0</c:v>
                </c:pt>
                <c:pt idx="72">
                  <c:v>0</c:v>
                </c:pt>
                <c:pt idx="73">
                  <c:v>1</c:v>
                </c:pt>
                <c:pt idx="74">
                  <c:v>4</c:v>
                </c:pt>
                <c:pt idx="75">
                  <c:v>0</c:v>
                </c:pt>
                <c:pt idx="76">
                  <c:v>4</c:v>
                </c:pt>
                <c:pt idx="77">
                  <c:v>0</c:v>
                </c:pt>
                <c:pt idx="78">
                  <c:v>4</c:v>
                </c:pt>
                <c:pt idx="79">
                  <c:v>1</c:v>
                </c:pt>
                <c:pt idx="80">
                  <c:v>1</c:v>
                </c:pt>
                <c:pt idx="81">
                  <c:v>3</c:v>
                </c:pt>
                <c:pt idx="82">
                  <c:v>0</c:v>
                </c:pt>
                <c:pt idx="83">
                  <c:v>0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0</c:v>
                </c:pt>
                <c:pt idx="88">
                  <c:v>0</c:v>
                </c:pt>
                <c:pt idx="89">
                  <c:v>2</c:v>
                </c:pt>
                <c:pt idx="90">
                  <c:v>1</c:v>
                </c:pt>
                <c:pt idx="91">
                  <c:v>0</c:v>
                </c:pt>
                <c:pt idx="92">
                  <c:v>1</c:v>
                </c:pt>
                <c:pt idx="93">
                  <c:v>0</c:v>
                </c:pt>
                <c:pt idx="94">
                  <c:v>0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1</c:v>
                </c:pt>
                <c:pt idx="99">
                  <c:v>2</c:v>
                </c:pt>
                <c:pt idx="100">
                  <c:v>3</c:v>
                </c:pt>
                <c:pt idx="101">
                  <c:v>1</c:v>
                </c:pt>
                <c:pt idx="102">
                  <c:v>3</c:v>
                </c:pt>
                <c:pt idx="103">
                  <c:v>3</c:v>
                </c:pt>
                <c:pt idx="104">
                  <c:v>2</c:v>
                </c:pt>
                <c:pt idx="105">
                  <c:v>1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4</c:v>
                </c:pt>
                <c:pt idx="110">
                  <c:v>2</c:v>
                </c:pt>
                <c:pt idx="111">
                  <c:v>0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1</c:v>
                </c:pt>
                <c:pt idx="116">
                  <c:v>0</c:v>
                </c:pt>
                <c:pt idx="117">
                  <c:v>2</c:v>
                </c:pt>
                <c:pt idx="118">
                  <c:v>1</c:v>
                </c:pt>
                <c:pt idx="119">
                  <c:v>5</c:v>
                </c:pt>
                <c:pt idx="120">
                  <c:v>6</c:v>
                </c:pt>
                <c:pt idx="121">
                  <c:v>1</c:v>
                </c:pt>
                <c:pt idx="122">
                  <c:v>0</c:v>
                </c:pt>
                <c:pt idx="123">
                  <c:v>2</c:v>
                </c:pt>
                <c:pt idx="124">
                  <c:v>4</c:v>
                </c:pt>
                <c:pt idx="125">
                  <c:v>1</c:v>
                </c:pt>
                <c:pt idx="126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5.3262316910785623E-3"/>
                  <c:y val="1.893135670302167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485260247928398"/>
                      <c:h val="9.738098319368607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DX$1</c:f>
              <c:strCache>
                <c:ptCount val="127"/>
                <c:pt idx="0">
                  <c:v>06.05.21</c:v>
                </c:pt>
                <c:pt idx="1">
                  <c:v>07.05.21</c:v>
                </c:pt>
                <c:pt idx="2">
                  <c:v>08.05.21</c:v>
                </c:pt>
                <c:pt idx="3">
                  <c:v>09.05.21</c:v>
                </c:pt>
                <c:pt idx="4">
                  <c:v>10.05.21</c:v>
                </c:pt>
                <c:pt idx="5">
                  <c:v>11.05.21</c:v>
                </c:pt>
                <c:pt idx="6">
                  <c:v>12.05.21</c:v>
                </c:pt>
                <c:pt idx="7">
                  <c:v>13.05.21</c:v>
                </c:pt>
                <c:pt idx="8">
                  <c:v>14.05.21</c:v>
                </c:pt>
                <c:pt idx="9">
                  <c:v>15.05.21</c:v>
                </c:pt>
                <c:pt idx="10">
                  <c:v>16.05.21</c:v>
                </c:pt>
                <c:pt idx="11">
                  <c:v>17.05.21</c:v>
                </c:pt>
                <c:pt idx="12">
                  <c:v>18.05.21</c:v>
                </c:pt>
                <c:pt idx="13">
                  <c:v>19.05.21</c:v>
                </c:pt>
                <c:pt idx="14">
                  <c:v>20.05.21</c:v>
                </c:pt>
                <c:pt idx="15">
                  <c:v>21.05.21</c:v>
                </c:pt>
                <c:pt idx="16">
                  <c:v>22.05.21</c:v>
                </c:pt>
                <c:pt idx="17">
                  <c:v>23.05.21</c:v>
                </c:pt>
                <c:pt idx="18">
                  <c:v>24.05.21</c:v>
                </c:pt>
                <c:pt idx="19">
                  <c:v>25.05.21</c:v>
                </c:pt>
                <c:pt idx="20">
                  <c:v>26.05.21</c:v>
                </c:pt>
                <c:pt idx="21">
                  <c:v>27.05.21</c:v>
                </c:pt>
                <c:pt idx="22">
                  <c:v>28.05.21</c:v>
                </c:pt>
                <c:pt idx="23">
                  <c:v>29.05.21</c:v>
                </c:pt>
                <c:pt idx="24">
                  <c:v>30.05.21</c:v>
                </c:pt>
                <c:pt idx="25">
                  <c:v>31.05.21</c:v>
                </c:pt>
                <c:pt idx="26">
                  <c:v>01.06.21</c:v>
                </c:pt>
                <c:pt idx="27">
                  <c:v>02.06.21</c:v>
                </c:pt>
                <c:pt idx="28">
                  <c:v>03.06.21</c:v>
                </c:pt>
                <c:pt idx="29">
                  <c:v>04.06.21</c:v>
                </c:pt>
                <c:pt idx="30">
                  <c:v>05.06.21</c:v>
                </c:pt>
                <c:pt idx="31">
                  <c:v>06.06.21</c:v>
                </c:pt>
                <c:pt idx="32">
                  <c:v>07.06.21</c:v>
                </c:pt>
                <c:pt idx="33">
                  <c:v>08.06.21</c:v>
                </c:pt>
                <c:pt idx="34">
                  <c:v>09.06.21</c:v>
                </c:pt>
                <c:pt idx="35">
                  <c:v>10.06.21</c:v>
                </c:pt>
                <c:pt idx="36">
                  <c:v>11.06.21</c:v>
                </c:pt>
                <c:pt idx="37">
                  <c:v>12.06.21</c:v>
                </c:pt>
                <c:pt idx="38">
                  <c:v>13.06.21</c:v>
                </c:pt>
                <c:pt idx="39">
                  <c:v>14.06.21</c:v>
                </c:pt>
                <c:pt idx="40">
                  <c:v>15.06.21</c:v>
                </c:pt>
                <c:pt idx="41">
                  <c:v>16.06.21</c:v>
                </c:pt>
                <c:pt idx="42">
                  <c:v>17.06.21</c:v>
                </c:pt>
                <c:pt idx="43">
                  <c:v>18.06.21</c:v>
                </c:pt>
                <c:pt idx="44">
                  <c:v>19.06.21</c:v>
                </c:pt>
                <c:pt idx="45">
                  <c:v>20.06.21</c:v>
                </c:pt>
                <c:pt idx="46">
                  <c:v>21.06.21</c:v>
                </c:pt>
                <c:pt idx="47">
                  <c:v>22.06.21</c:v>
                </c:pt>
                <c:pt idx="48">
                  <c:v>23.06.21</c:v>
                </c:pt>
                <c:pt idx="49">
                  <c:v>24.06.21</c:v>
                </c:pt>
                <c:pt idx="50">
                  <c:v>25.06.21</c:v>
                </c:pt>
                <c:pt idx="51">
                  <c:v>26.06.21</c:v>
                </c:pt>
                <c:pt idx="52">
                  <c:v>27.06.21</c:v>
                </c:pt>
                <c:pt idx="53">
                  <c:v>28.06.21</c:v>
                </c:pt>
                <c:pt idx="54">
                  <c:v>29.06.21</c:v>
                </c:pt>
                <c:pt idx="55">
                  <c:v>30.06.21</c:v>
                </c:pt>
                <c:pt idx="56">
                  <c:v>01.07.21</c:v>
                </c:pt>
                <c:pt idx="57">
                  <c:v>02.07.21</c:v>
                </c:pt>
                <c:pt idx="58">
                  <c:v>03.07.21</c:v>
                </c:pt>
                <c:pt idx="59">
                  <c:v>04.07.21</c:v>
                </c:pt>
                <c:pt idx="60">
                  <c:v>05.07.21</c:v>
                </c:pt>
                <c:pt idx="61">
                  <c:v>06.07.21</c:v>
                </c:pt>
                <c:pt idx="62">
                  <c:v>07.07.21</c:v>
                </c:pt>
                <c:pt idx="63">
                  <c:v>08.07.21</c:v>
                </c:pt>
                <c:pt idx="64">
                  <c:v>09.07.21</c:v>
                </c:pt>
                <c:pt idx="65">
                  <c:v>10.07.21</c:v>
                </c:pt>
                <c:pt idx="66">
                  <c:v>11.07.21</c:v>
                </c:pt>
                <c:pt idx="67">
                  <c:v>12.07.21</c:v>
                </c:pt>
                <c:pt idx="68">
                  <c:v>13.07.21</c:v>
                </c:pt>
                <c:pt idx="69">
                  <c:v>14.07.21</c:v>
                </c:pt>
                <c:pt idx="70">
                  <c:v>15.07.21</c:v>
                </c:pt>
                <c:pt idx="71">
                  <c:v>16.07.21</c:v>
                </c:pt>
                <c:pt idx="72">
                  <c:v>17.07.21</c:v>
                </c:pt>
                <c:pt idx="73">
                  <c:v>18.07.21</c:v>
                </c:pt>
                <c:pt idx="74">
                  <c:v>19.07.21</c:v>
                </c:pt>
                <c:pt idx="75">
                  <c:v>20.07.21</c:v>
                </c:pt>
                <c:pt idx="76">
                  <c:v>21.07.21</c:v>
                </c:pt>
                <c:pt idx="77">
                  <c:v>22.07.21</c:v>
                </c:pt>
                <c:pt idx="78">
                  <c:v>23.07.21</c:v>
                </c:pt>
                <c:pt idx="79">
                  <c:v>24.07.21</c:v>
                </c:pt>
                <c:pt idx="80">
                  <c:v>25.07.21</c:v>
                </c:pt>
                <c:pt idx="81">
                  <c:v>26.07.21</c:v>
                </c:pt>
                <c:pt idx="82">
                  <c:v>27.07.21</c:v>
                </c:pt>
                <c:pt idx="83">
                  <c:v>28.07.21</c:v>
                </c:pt>
                <c:pt idx="84">
                  <c:v>29.07.21</c:v>
                </c:pt>
                <c:pt idx="85">
                  <c:v>30.07.21</c:v>
                </c:pt>
                <c:pt idx="86">
                  <c:v>31.07.21</c:v>
                </c:pt>
                <c:pt idx="87">
                  <c:v>01.08.21</c:v>
                </c:pt>
                <c:pt idx="88">
                  <c:v>02.08.21</c:v>
                </c:pt>
                <c:pt idx="89">
                  <c:v>03.08.21</c:v>
                </c:pt>
                <c:pt idx="90">
                  <c:v>04.08.21</c:v>
                </c:pt>
                <c:pt idx="91">
                  <c:v>05.08.21</c:v>
                </c:pt>
                <c:pt idx="92">
                  <c:v>06.08.21</c:v>
                </c:pt>
                <c:pt idx="93">
                  <c:v>07.08.21</c:v>
                </c:pt>
                <c:pt idx="94">
                  <c:v>08.08.21</c:v>
                </c:pt>
                <c:pt idx="95">
                  <c:v>09.08.21</c:v>
                </c:pt>
                <c:pt idx="96">
                  <c:v>10.08.21</c:v>
                </c:pt>
                <c:pt idx="97">
                  <c:v>11.08.21</c:v>
                </c:pt>
                <c:pt idx="98">
                  <c:v>12.08.21</c:v>
                </c:pt>
                <c:pt idx="99">
                  <c:v>13.08.21</c:v>
                </c:pt>
                <c:pt idx="100">
                  <c:v>14.08.21</c:v>
                </c:pt>
                <c:pt idx="101">
                  <c:v>15.08.21</c:v>
                </c:pt>
                <c:pt idx="102">
                  <c:v>16.08.21</c:v>
                </c:pt>
                <c:pt idx="103">
                  <c:v>17.08.21</c:v>
                </c:pt>
                <c:pt idx="104">
                  <c:v>18.08.21</c:v>
                </c:pt>
                <c:pt idx="105">
                  <c:v>19.08.21</c:v>
                </c:pt>
                <c:pt idx="106">
                  <c:v>20.08.21</c:v>
                </c:pt>
                <c:pt idx="107">
                  <c:v>21.08.21</c:v>
                </c:pt>
                <c:pt idx="108">
                  <c:v>22.08.21</c:v>
                </c:pt>
                <c:pt idx="109">
                  <c:v>23.08.21</c:v>
                </c:pt>
                <c:pt idx="110">
                  <c:v>24.08.21</c:v>
                </c:pt>
                <c:pt idx="111">
                  <c:v>25.08.21</c:v>
                </c:pt>
                <c:pt idx="112">
                  <c:v>26.08.21</c:v>
                </c:pt>
                <c:pt idx="113">
                  <c:v>27.08.21</c:v>
                </c:pt>
                <c:pt idx="114">
                  <c:v>28.08.21</c:v>
                </c:pt>
                <c:pt idx="115">
                  <c:v>29.08.21</c:v>
                </c:pt>
                <c:pt idx="116">
                  <c:v>30.08.21</c:v>
                </c:pt>
                <c:pt idx="117">
                  <c:v>31.08.21</c:v>
                </c:pt>
                <c:pt idx="118">
                  <c:v>01.09.21</c:v>
                </c:pt>
                <c:pt idx="119">
                  <c:v>02.09.21</c:v>
                </c:pt>
                <c:pt idx="120">
                  <c:v>03.09.21</c:v>
                </c:pt>
                <c:pt idx="121">
                  <c:v>04.09.21</c:v>
                </c:pt>
                <c:pt idx="122">
                  <c:v>05.09.21</c:v>
                </c:pt>
                <c:pt idx="123">
                  <c:v>06.09.21</c:v>
                </c:pt>
                <c:pt idx="124">
                  <c:v>07.09.21</c:v>
                </c:pt>
                <c:pt idx="125">
                  <c:v>08.09.21</c:v>
                </c:pt>
                <c:pt idx="126">
                  <c:v>09.09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14</c:v>
                </c:pt>
                <c:pt idx="1">
                  <c:v>14</c:v>
                </c:pt>
                <c:pt idx="2">
                  <c:v>4</c:v>
                </c:pt>
                <c:pt idx="3">
                  <c:v>2</c:v>
                </c:pt>
                <c:pt idx="4">
                  <c:v>10</c:v>
                </c:pt>
                <c:pt idx="5">
                  <c:v>17</c:v>
                </c:pt>
                <c:pt idx="6">
                  <c:v>9</c:v>
                </c:pt>
                <c:pt idx="7">
                  <c:v>12</c:v>
                </c:pt>
                <c:pt idx="8">
                  <c:v>9</c:v>
                </c:pt>
                <c:pt idx="9">
                  <c:v>5</c:v>
                </c:pt>
                <c:pt idx="10">
                  <c:v>3</c:v>
                </c:pt>
                <c:pt idx="11">
                  <c:v>8</c:v>
                </c:pt>
                <c:pt idx="12">
                  <c:v>7</c:v>
                </c:pt>
                <c:pt idx="13">
                  <c:v>3</c:v>
                </c:pt>
                <c:pt idx="14">
                  <c:v>6</c:v>
                </c:pt>
                <c:pt idx="15">
                  <c:v>4</c:v>
                </c:pt>
                <c:pt idx="16">
                  <c:v>1</c:v>
                </c:pt>
                <c:pt idx="17">
                  <c:v>0</c:v>
                </c:pt>
                <c:pt idx="18">
                  <c:v>6</c:v>
                </c:pt>
                <c:pt idx="19">
                  <c:v>0</c:v>
                </c:pt>
                <c:pt idx="20">
                  <c:v>6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  <c:pt idx="24">
                  <c:v>0</c:v>
                </c:pt>
                <c:pt idx="25">
                  <c:v>2</c:v>
                </c:pt>
                <c:pt idx="26">
                  <c:v>1</c:v>
                </c:pt>
                <c:pt idx="27">
                  <c:v>1</c:v>
                </c:pt>
                <c:pt idx="28">
                  <c:v>2</c:v>
                </c:pt>
                <c:pt idx="29">
                  <c:v>1</c:v>
                </c:pt>
                <c:pt idx="30">
                  <c:v>1</c:v>
                </c:pt>
                <c:pt idx="31">
                  <c:v>0</c:v>
                </c:pt>
                <c:pt idx="32">
                  <c:v>2</c:v>
                </c:pt>
                <c:pt idx="33">
                  <c:v>1</c:v>
                </c:pt>
                <c:pt idx="34">
                  <c:v>2</c:v>
                </c:pt>
                <c:pt idx="35">
                  <c:v>1</c:v>
                </c:pt>
                <c:pt idx="36">
                  <c:v>0</c:v>
                </c:pt>
                <c:pt idx="37">
                  <c:v>1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2</c:v>
                </c:pt>
                <c:pt idx="49">
                  <c:v>2</c:v>
                </c:pt>
                <c:pt idx="50">
                  <c:v>0</c:v>
                </c:pt>
                <c:pt idx="51">
                  <c:v>1</c:v>
                </c:pt>
                <c:pt idx="52">
                  <c:v>2</c:v>
                </c:pt>
                <c:pt idx="53">
                  <c:v>0</c:v>
                </c:pt>
                <c:pt idx="54">
                  <c:v>1</c:v>
                </c:pt>
                <c:pt idx="55">
                  <c:v>0</c:v>
                </c:pt>
                <c:pt idx="56">
                  <c:v>0</c:v>
                </c:pt>
                <c:pt idx="57">
                  <c:v>1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1</c:v>
                </c:pt>
                <c:pt idx="62">
                  <c:v>1</c:v>
                </c:pt>
                <c:pt idx="63">
                  <c:v>4</c:v>
                </c:pt>
                <c:pt idx="64">
                  <c:v>4</c:v>
                </c:pt>
                <c:pt idx="65">
                  <c:v>0</c:v>
                </c:pt>
                <c:pt idx="66">
                  <c:v>0</c:v>
                </c:pt>
                <c:pt idx="67">
                  <c:v>3</c:v>
                </c:pt>
                <c:pt idx="68">
                  <c:v>0</c:v>
                </c:pt>
                <c:pt idx="69">
                  <c:v>4</c:v>
                </c:pt>
                <c:pt idx="70">
                  <c:v>2</c:v>
                </c:pt>
                <c:pt idx="71">
                  <c:v>5</c:v>
                </c:pt>
                <c:pt idx="72">
                  <c:v>1</c:v>
                </c:pt>
                <c:pt idx="73">
                  <c:v>1</c:v>
                </c:pt>
                <c:pt idx="74">
                  <c:v>3</c:v>
                </c:pt>
                <c:pt idx="75">
                  <c:v>5</c:v>
                </c:pt>
                <c:pt idx="76">
                  <c:v>1</c:v>
                </c:pt>
                <c:pt idx="77">
                  <c:v>3</c:v>
                </c:pt>
                <c:pt idx="78">
                  <c:v>2</c:v>
                </c:pt>
                <c:pt idx="79">
                  <c:v>0</c:v>
                </c:pt>
                <c:pt idx="80">
                  <c:v>1</c:v>
                </c:pt>
                <c:pt idx="81">
                  <c:v>3</c:v>
                </c:pt>
                <c:pt idx="82">
                  <c:v>4</c:v>
                </c:pt>
                <c:pt idx="83">
                  <c:v>1</c:v>
                </c:pt>
                <c:pt idx="84">
                  <c:v>3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2</c:v>
                </c:pt>
                <c:pt idx="89">
                  <c:v>3</c:v>
                </c:pt>
                <c:pt idx="90">
                  <c:v>3</c:v>
                </c:pt>
                <c:pt idx="91">
                  <c:v>1</c:v>
                </c:pt>
                <c:pt idx="92">
                  <c:v>2</c:v>
                </c:pt>
                <c:pt idx="93">
                  <c:v>1</c:v>
                </c:pt>
                <c:pt idx="94">
                  <c:v>0</c:v>
                </c:pt>
                <c:pt idx="95">
                  <c:v>6</c:v>
                </c:pt>
                <c:pt idx="96">
                  <c:v>0</c:v>
                </c:pt>
                <c:pt idx="97">
                  <c:v>1</c:v>
                </c:pt>
                <c:pt idx="98">
                  <c:v>2</c:v>
                </c:pt>
                <c:pt idx="99">
                  <c:v>5</c:v>
                </c:pt>
                <c:pt idx="100">
                  <c:v>2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1</c:v>
                </c:pt>
                <c:pt idx="105">
                  <c:v>0</c:v>
                </c:pt>
                <c:pt idx="106">
                  <c:v>3</c:v>
                </c:pt>
                <c:pt idx="107">
                  <c:v>1</c:v>
                </c:pt>
                <c:pt idx="108">
                  <c:v>2</c:v>
                </c:pt>
                <c:pt idx="109">
                  <c:v>1</c:v>
                </c:pt>
                <c:pt idx="110">
                  <c:v>2</c:v>
                </c:pt>
                <c:pt idx="111">
                  <c:v>5</c:v>
                </c:pt>
                <c:pt idx="112">
                  <c:v>2</c:v>
                </c:pt>
                <c:pt idx="113">
                  <c:v>1</c:v>
                </c:pt>
                <c:pt idx="114">
                  <c:v>0</c:v>
                </c:pt>
                <c:pt idx="115">
                  <c:v>1</c:v>
                </c:pt>
                <c:pt idx="116">
                  <c:v>1</c:v>
                </c:pt>
                <c:pt idx="117">
                  <c:v>0</c:v>
                </c:pt>
                <c:pt idx="118">
                  <c:v>2</c:v>
                </c:pt>
                <c:pt idx="119">
                  <c:v>4</c:v>
                </c:pt>
                <c:pt idx="120">
                  <c:v>6</c:v>
                </c:pt>
                <c:pt idx="121">
                  <c:v>5</c:v>
                </c:pt>
                <c:pt idx="122">
                  <c:v>1</c:v>
                </c:pt>
                <c:pt idx="123">
                  <c:v>5</c:v>
                </c:pt>
                <c:pt idx="124">
                  <c:v>4</c:v>
                </c:pt>
                <c:pt idx="125">
                  <c:v>1</c:v>
                </c:pt>
                <c:pt idx="126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8613455438066E-2"/>
          <c:y val="2.9263177408738655E-2"/>
          <c:w val="0.67928837285169852"/>
          <c:h val="0.8537042085080645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3.2845470587363021E-4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rgbClr val="0070C0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86443207452346"/>
                      <c:h val="4.187914712576739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06.05.21</c:v>
                </c:pt>
                <c:pt idx="1">
                  <c:v>07.05.21</c:v>
                </c:pt>
                <c:pt idx="2">
                  <c:v>08.05.21</c:v>
                </c:pt>
                <c:pt idx="3">
                  <c:v>09.05.21</c:v>
                </c:pt>
                <c:pt idx="4">
                  <c:v>10.05.21</c:v>
                </c:pt>
                <c:pt idx="5">
                  <c:v>11.05.21</c:v>
                </c:pt>
                <c:pt idx="6">
                  <c:v>12.05.21</c:v>
                </c:pt>
                <c:pt idx="7">
                  <c:v>13.05.21</c:v>
                </c:pt>
                <c:pt idx="8">
                  <c:v>14.05.21</c:v>
                </c:pt>
                <c:pt idx="9">
                  <c:v>15.05.21</c:v>
                </c:pt>
                <c:pt idx="10">
                  <c:v>16.05.21</c:v>
                </c:pt>
                <c:pt idx="11">
                  <c:v>17.05.21</c:v>
                </c:pt>
                <c:pt idx="12">
                  <c:v>18.05.21</c:v>
                </c:pt>
                <c:pt idx="13">
                  <c:v>19.05.21</c:v>
                </c:pt>
                <c:pt idx="14">
                  <c:v>20.05.21</c:v>
                </c:pt>
                <c:pt idx="15">
                  <c:v>21.05.21</c:v>
                </c:pt>
                <c:pt idx="16">
                  <c:v>22.05.21</c:v>
                </c:pt>
                <c:pt idx="17">
                  <c:v>23.05.21</c:v>
                </c:pt>
                <c:pt idx="18">
                  <c:v>24.05.21</c:v>
                </c:pt>
                <c:pt idx="19">
                  <c:v>25.05.21</c:v>
                </c:pt>
                <c:pt idx="20">
                  <c:v>26.05.21</c:v>
                </c:pt>
                <c:pt idx="21">
                  <c:v>27.05.21</c:v>
                </c:pt>
                <c:pt idx="22">
                  <c:v>28.05.21</c:v>
                </c:pt>
                <c:pt idx="23">
                  <c:v>29.05.21</c:v>
                </c:pt>
                <c:pt idx="24">
                  <c:v>30.05.21</c:v>
                </c:pt>
                <c:pt idx="25">
                  <c:v>31.05.21</c:v>
                </c:pt>
                <c:pt idx="26">
                  <c:v>01.06.21</c:v>
                </c:pt>
                <c:pt idx="27">
                  <c:v>02.06.21</c:v>
                </c:pt>
                <c:pt idx="28">
                  <c:v>03.06.21</c:v>
                </c:pt>
                <c:pt idx="29">
                  <c:v>04.06.21</c:v>
                </c:pt>
                <c:pt idx="30">
                  <c:v>05.06.21</c:v>
                </c:pt>
                <c:pt idx="31">
                  <c:v>06.06.21</c:v>
                </c:pt>
                <c:pt idx="32">
                  <c:v>07.06.21</c:v>
                </c:pt>
                <c:pt idx="33">
                  <c:v>08.06.21</c:v>
                </c:pt>
                <c:pt idx="34">
                  <c:v>09.06.21</c:v>
                </c:pt>
                <c:pt idx="35">
                  <c:v>10.06.21</c:v>
                </c:pt>
                <c:pt idx="36">
                  <c:v>11.06.21</c:v>
                </c:pt>
                <c:pt idx="37">
                  <c:v>12.06.21</c:v>
                </c:pt>
                <c:pt idx="38">
                  <c:v>13.06.21</c:v>
                </c:pt>
                <c:pt idx="39">
                  <c:v>14.06.21</c:v>
                </c:pt>
                <c:pt idx="40">
                  <c:v>15.06.21</c:v>
                </c:pt>
                <c:pt idx="41">
                  <c:v>16.06.21</c:v>
                </c:pt>
                <c:pt idx="42">
                  <c:v>17.06.21</c:v>
                </c:pt>
                <c:pt idx="43">
                  <c:v>18.06.21</c:v>
                </c:pt>
                <c:pt idx="44">
                  <c:v>19.06.21</c:v>
                </c:pt>
                <c:pt idx="45">
                  <c:v>20.06.21</c:v>
                </c:pt>
                <c:pt idx="46">
                  <c:v>21.06.21</c:v>
                </c:pt>
                <c:pt idx="47">
                  <c:v>22.06.21</c:v>
                </c:pt>
                <c:pt idx="48">
                  <c:v>23.06.21</c:v>
                </c:pt>
                <c:pt idx="49">
                  <c:v>24.06.21</c:v>
                </c:pt>
                <c:pt idx="50">
                  <c:v>25.06.21</c:v>
                </c:pt>
                <c:pt idx="51">
                  <c:v>26.06.21</c:v>
                </c:pt>
                <c:pt idx="52">
                  <c:v>27.06.21</c:v>
                </c:pt>
                <c:pt idx="53">
                  <c:v>28.06.21</c:v>
                </c:pt>
                <c:pt idx="54">
                  <c:v>29.06.21</c:v>
                </c:pt>
                <c:pt idx="55">
                  <c:v>30.06.21</c:v>
                </c:pt>
                <c:pt idx="56">
                  <c:v>01.07.21</c:v>
                </c:pt>
                <c:pt idx="57">
                  <c:v>02.07.21</c:v>
                </c:pt>
                <c:pt idx="58">
                  <c:v>03.07.21</c:v>
                </c:pt>
                <c:pt idx="59">
                  <c:v>04.07.21</c:v>
                </c:pt>
                <c:pt idx="60">
                  <c:v>05.07.21</c:v>
                </c:pt>
                <c:pt idx="61">
                  <c:v>06.07.21</c:v>
                </c:pt>
                <c:pt idx="62">
                  <c:v>07.07.21</c:v>
                </c:pt>
                <c:pt idx="63">
                  <c:v>08.07.21</c:v>
                </c:pt>
                <c:pt idx="64">
                  <c:v>09.07.21</c:v>
                </c:pt>
                <c:pt idx="65">
                  <c:v>10.07.21</c:v>
                </c:pt>
                <c:pt idx="66">
                  <c:v>11.07.21</c:v>
                </c:pt>
                <c:pt idx="67">
                  <c:v>12.07.21</c:v>
                </c:pt>
                <c:pt idx="68">
                  <c:v>13.07.21</c:v>
                </c:pt>
                <c:pt idx="69">
                  <c:v>14.07.21</c:v>
                </c:pt>
                <c:pt idx="70">
                  <c:v>15.07.21</c:v>
                </c:pt>
                <c:pt idx="71">
                  <c:v>16.07.21</c:v>
                </c:pt>
                <c:pt idx="72">
                  <c:v>17.07.21</c:v>
                </c:pt>
                <c:pt idx="73">
                  <c:v>18.07.21</c:v>
                </c:pt>
                <c:pt idx="74">
                  <c:v>19.07.21</c:v>
                </c:pt>
                <c:pt idx="75">
                  <c:v>20.07.21</c:v>
                </c:pt>
                <c:pt idx="76">
                  <c:v>21.07.21</c:v>
                </c:pt>
                <c:pt idx="77">
                  <c:v>22.07.21</c:v>
                </c:pt>
                <c:pt idx="78">
                  <c:v>23.07.21</c:v>
                </c:pt>
                <c:pt idx="79">
                  <c:v>24.07.21</c:v>
                </c:pt>
                <c:pt idx="80">
                  <c:v>25.07.21</c:v>
                </c:pt>
                <c:pt idx="81">
                  <c:v>26.07.21</c:v>
                </c:pt>
                <c:pt idx="82">
                  <c:v>27.07.21</c:v>
                </c:pt>
                <c:pt idx="83">
                  <c:v>28.07.21</c:v>
                </c:pt>
                <c:pt idx="84">
                  <c:v>29.07.21</c:v>
                </c:pt>
                <c:pt idx="85">
                  <c:v>30.07.21</c:v>
                </c:pt>
                <c:pt idx="86">
                  <c:v>31.07.21</c:v>
                </c:pt>
                <c:pt idx="87">
                  <c:v>01.08.21</c:v>
                </c:pt>
                <c:pt idx="88">
                  <c:v>02.08.21</c:v>
                </c:pt>
                <c:pt idx="89">
                  <c:v>03.08.21</c:v>
                </c:pt>
                <c:pt idx="90">
                  <c:v>04.08.21</c:v>
                </c:pt>
                <c:pt idx="91">
                  <c:v>05.08.21</c:v>
                </c:pt>
                <c:pt idx="92">
                  <c:v>06.08.21</c:v>
                </c:pt>
                <c:pt idx="93">
                  <c:v>07.08.21</c:v>
                </c:pt>
                <c:pt idx="94">
                  <c:v>08.08.21</c:v>
                </c:pt>
                <c:pt idx="95">
                  <c:v>09.08.21</c:v>
                </c:pt>
                <c:pt idx="96">
                  <c:v>10.08.21</c:v>
                </c:pt>
                <c:pt idx="97">
                  <c:v>11.08.21</c:v>
                </c:pt>
                <c:pt idx="98">
                  <c:v>12.08.21</c:v>
                </c:pt>
                <c:pt idx="99">
                  <c:v>13.08.21</c:v>
                </c:pt>
                <c:pt idx="100">
                  <c:v>14.08.21</c:v>
                </c:pt>
                <c:pt idx="101">
                  <c:v>15.08.21</c:v>
                </c:pt>
                <c:pt idx="102">
                  <c:v>16.08.21</c:v>
                </c:pt>
                <c:pt idx="103">
                  <c:v>17.08.21</c:v>
                </c:pt>
                <c:pt idx="104">
                  <c:v>18.08.21</c:v>
                </c:pt>
                <c:pt idx="105">
                  <c:v>19.08.21</c:v>
                </c:pt>
                <c:pt idx="106">
                  <c:v>20.08.21</c:v>
                </c:pt>
                <c:pt idx="107">
                  <c:v>21.08.21</c:v>
                </c:pt>
                <c:pt idx="108">
                  <c:v>22.08.21</c:v>
                </c:pt>
                <c:pt idx="109">
                  <c:v>23.08.21</c:v>
                </c:pt>
                <c:pt idx="110">
                  <c:v>24.08.21</c:v>
                </c:pt>
                <c:pt idx="111">
                  <c:v>25.08.21</c:v>
                </c:pt>
                <c:pt idx="112">
                  <c:v>26.08.21</c:v>
                </c:pt>
                <c:pt idx="113">
                  <c:v>27.08.21</c:v>
                </c:pt>
                <c:pt idx="114">
                  <c:v>28.08.21</c:v>
                </c:pt>
                <c:pt idx="115">
                  <c:v>29.08.21</c:v>
                </c:pt>
                <c:pt idx="116">
                  <c:v>30.08.21</c:v>
                </c:pt>
                <c:pt idx="117">
                  <c:v>31.08.21</c:v>
                </c:pt>
                <c:pt idx="118">
                  <c:v>01.09.21</c:v>
                </c:pt>
                <c:pt idx="119">
                  <c:v>02.09.21</c:v>
                </c:pt>
                <c:pt idx="120">
                  <c:v>03.09.21</c:v>
                </c:pt>
                <c:pt idx="121">
                  <c:v>04.09.21</c:v>
                </c:pt>
                <c:pt idx="122">
                  <c:v>05.09.21</c:v>
                </c:pt>
                <c:pt idx="123">
                  <c:v>06.09.21</c:v>
                </c:pt>
                <c:pt idx="124">
                  <c:v>07.09.21</c:v>
                </c:pt>
                <c:pt idx="125">
                  <c:v>08.09.21</c:v>
                </c:pt>
                <c:pt idx="126">
                  <c:v>09.09.21</c:v>
                </c:pt>
              </c:strCache>
            </c:strRef>
          </c:cat>
          <c:val>
            <c:numRef>
              <c:f>List1!$B$2:$DX$2</c:f>
              <c:numCache>
                <c:formatCode>General</c:formatCode>
                <c:ptCount val="127"/>
                <c:pt idx="0">
                  <c:v>42</c:v>
                </c:pt>
                <c:pt idx="1">
                  <c:v>38</c:v>
                </c:pt>
                <c:pt idx="2">
                  <c:v>39</c:v>
                </c:pt>
                <c:pt idx="3">
                  <c:v>39</c:v>
                </c:pt>
                <c:pt idx="4">
                  <c:v>34</c:v>
                </c:pt>
                <c:pt idx="5">
                  <c:v>35</c:v>
                </c:pt>
                <c:pt idx="6">
                  <c:v>25</c:v>
                </c:pt>
                <c:pt idx="7">
                  <c:v>27</c:v>
                </c:pt>
                <c:pt idx="8">
                  <c:v>27</c:v>
                </c:pt>
                <c:pt idx="9">
                  <c:v>26</c:v>
                </c:pt>
                <c:pt idx="10">
                  <c:v>25</c:v>
                </c:pt>
                <c:pt idx="11">
                  <c:v>22</c:v>
                </c:pt>
                <c:pt idx="12">
                  <c:v>20</c:v>
                </c:pt>
                <c:pt idx="13">
                  <c:v>20</c:v>
                </c:pt>
                <c:pt idx="14">
                  <c:v>21</c:v>
                </c:pt>
                <c:pt idx="15">
                  <c:v>21</c:v>
                </c:pt>
                <c:pt idx="16">
                  <c:v>22</c:v>
                </c:pt>
                <c:pt idx="17">
                  <c:v>22</c:v>
                </c:pt>
                <c:pt idx="18">
                  <c:v>21</c:v>
                </c:pt>
                <c:pt idx="19">
                  <c:v>20</c:v>
                </c:pt>
                <c:pt idx="20">
                  <c:v>21</c:v>
                </c:pt>
                <c:pt idx="21">
                  <c:v>19</c:v>
                </c:pt>
                <c:pt idx="22">
                  <c:v>18</c:v>
                </c:pt>
                <c:pt idx="23">
                  <c:v>17</c:v>
                </c:pt>
                <c:pt idx="24">
                  <c:v>18</c:v>
                </c:pt>
                <c:pt idx="25">
                  <c:v>16</c:v>
                </c:pt>
                <c:pt idx="26">
                  <c:v>16</c:v>
                </c:pt>
                <c:pt idx="27">
                  <c:v>14</c:v>
                </c:pt>
                <c:pt idx="28">
                  <c:v>13</c:v>
                </c:pt>
                <c:pt idx="29">
                  <c:v>11</c:v>
                </c:pt>
                <c:pt idx="30">
                  <c:v>10</c:v>
                </c:pt>
                <c:pt idx="31">
                  <c:v>10</c:v>
                </c:pt>
                <c:pt idx="32">
                  <c:v>9</c:v>
                </c:pt>
                <c:pt idx="33">
                  <c:v>8</c:v>
                </c:pt>
                <c:pt idx="34">
                  <c:v>6</c:v>
                </c:pt>
                <c:pt idx="35">
                  <c:v>3</c:v>
                </c:pt>
                <c:pt idx="36">
                  <c:v>3</c:v>
                </c:pt>
                <c:pt idx="37">
                  <c:v>2</c:v>
                </c:pt>
                <c:pt idx="38">
                  <c:v>-1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6</c:v>
                </c:pt>
                <c:pt idx="68">
                  <c:v>7</c:v>
                </c:pt>
                <c:pt idx="69">
                  <c:v>6</c:v>
                </c:pt>
                <c:pt idx="70">
                  <c:v>6</c:v>
                </c:pt>
                <c:pt idx="71">
                  <c:v>8</c:v>
                </c:pt>
                <c:pt idx="72">
                  <c:v>10</c:v>
                </c:pt>
                <c:pt idx="73">
                  <c:v>10</c:v>
                </c:pt>
                <c:pt idx="74">
                  <c:v>12</c:v>
                </c:pt>
                <c:pt idx="75">
                  <c:v>14</c:v>
                </c:pt>
                <c:pt idx="76">
                  <c:v>16</c:v>
                </c:pt>
                <c:pt idx="77">
                  <c:v>19</c:v>
                </c:pt>
                <c:pt idx="78">
                  <c:v>18</c:v>
                </c:pt>
                <c:pt idx="79">
                  <c:v>18</c:v>
                </c:pt>
                <c:pt idx="80">
                  <c:v>19</c:v>
                </c:pt>
                <c:pt idx="81">
                  <c:v>19</c:v>
                </c:pt>
                <c:pt idx="82">
                  <c:v>20</c:v>
                </c:pt>
                <c:pt idx="83">
                  <c:v>21</c:v>
                </c:pt>
                <c:pt idx="84">
                  <c:v>22</c:v>
                </c:pt>
                <c:pt idx="85">
                  <c:v>21</c:v>
                </c:pt>
                <c:pt idx="86">
                  <c:v>20</c:v>
                </c:pt>
                <c:pt idx="87">
                  <c:v>19</c:v>
                </c:pt>
                <c:pt idx="88">
                  <c:v>17</c:v>
                </c:pt>
                <c:pt idx="89">
                  <c:v>15</c:v>
                </c:pt>
                <c:pt idx="90">
                  <c:v>18</c:v>
                </c:pt>
                <c:pt idx="91">
                  <c:v>16</c:v>
                </c:pt>
                <c:pt idx="92">
                  <c:v>18</c:v>
                </c:pt>
                <c:pt idx="93">
                  <c:v>15</c:v>
                </c:pt>
                <c:pt idx="94">
                  <c:v>17</c:v>
                </c:pt>
                <c:pt idx="95">
                  <c:v>17</c:v>
                </c:pt>
                <c:pt idx="96">
                  <c:v>17</c:v>
                </c:pt>
                <c:pt idx="97">
                  <c:v>17</c:v>
                </c:pt>
                <c:pt idx="98">
                  <c:v>18</c:v>
                </c:pt>
                <c:pt idx="99">
                  <c:v>18</c:v>
                </c:pt>
                <c:pt idx="100">
                  <c:v>18</c:v>
                </c:pt>
                <c:pt idx="101">
                  <c:v>18</c:v>
                </c:pt>
                <c:pt idx="102">
                  <c:v>21</c:v>
                </c:pt>
                <c:pt idx="103">
                  <c:v>18</c:v>
                </c:pt>
                <c:pt idx="104">
                  <c:v>15</c:v>
                </c:pt>
                <c:pt idx="105">
                  <c:v>15</c:v>
                </c:pt>
                <c:pt idx="106">
                  <c:v>14</c:v>
                </c:pt>
                <c:pt idx="107">
                  <c:v>13</c:v>
                </c:pt>
                <c:pt idx="108">
                  <c:v>11</c:v>
                </c:pt>
                <c:pt idx="109">
                  <c:v>12</c:v>
                </c:pt>
                <c:pt idx="110">
                  <c:v>11</c:v>
                </c:pt>
                <c:pt idx="111">
                  <c:v>9</c:v>
                </c:pt>
                <c:pt idx="112">
                  <c:v>10</c:v>
                </c:pt>
                <c:pt idx="113">
                  <c:v>9</c:v>
                </c:pt>
                <c:pt idx="114">
                  <c:v>10</c:v>
                </c:pt>
                <c:pt idx="115">
                  <c:v>9</c:v>
                </c:pt>
                <c:pt idx="116">
                  <c:v>7</c:v>
                </c:pt>
                <c:pt idx="117">
                  <c:v>11</c:v>
                </c:pt>
                <c:pt idx="118">
                  <c:v>14</c:v>
                </c:pt>
                <c:pt idx="119">
                  <c:v>15</c:v>
                </c:pt>
                <c:pt idx="120">
                  <c:v>15</c:v>
                </c:pt>
                <c:pt idx="121">
                  <c:v>18</c:v>
                </c:pt>
                <c:pt idx="122">
                  <c:v>19</c:v>
                </c:pt>
                <c:pt idx="123">
                  <c:v>19</c:v>
                </c:pt>
                <c:pt idx="124">
                  <c:v>21</c:v>
                </c:pt>
                <c:pt idx="125">
                  <c:v>21</c:v>
                </c:pt>
                <c:pt idx="126">
                  <c:v>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-7.4143274463573408E-8"/>
                  <c:y val="-1.2687477455896247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995385885184117"/>
                      <c:h val="7.66238569217618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rgbClr val="ED7D3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06.05.21</c:v>
                </c:pt>
                <c:pt idx="1">
                  <c:v>07.05.21</c:v>
                </c:pt>
                <c:pt idx="2">
                  <c:v>08.05.21</c:v>
                </c:pt>
                <c:pt idx="3">
                  <c:v>09.05.21</c:v>
                </c:pt>
                <c:pt idx="4">
                  <c:v>10.05.21</c:v>
                </c:pt>
                <c:pt idx="5">
                  <c:v>11.05.21</c:v>
                </c:pt>
                <c:pt idx="6">
                  <c:v>12.05.21</c:v>
                </c:pt>
                <c:pt idx="7">
                  <c:v>13.05.21</c:v>
                </c:pt>
                <c:pt idx="8">
                  <c:v>14.05.21</c:v>
                </c:pt>
                <c:pt idx="9">
                  <c:v>15.05.21</c:v>
                </c:pt>
                <c:pt idx="10">
                  <c:v>16.05.21</c:v>
                </c:pt>
                <c:pt idx="11">
                  <c:v>17.05.21</c:v>
                </c:pt>
                <c:pt idx="12">
                  <c:v>18.05.21</c:v>
                </c:pt>
                <c:pt idx="13">
                  <c:v>19.05.21</c:v>
                </c:pt>
                <c:pt idx="14">
                  <c:v>20.05.21</c:v>
                </c:pt>
                <c:pt idx="15">
                  <c:v>21.05.21</c:v>
                </c:pt>
                <c:pt idx="16">
                  <c:v>22.05.21</c:v>
                </c:pt>
                <c:pt idx="17">
                  <c:v>23.05.21</c:v>
                </c:pt>
                <c:pt idx="18">
                  <c:v>24.05.21</c:v>
                </c:pt>
                <c:pt idx="19">
                  <c:v>25.05.21</c:v>
                </c:pt>
                <c:pt idx="20">
                  <c:v>26.05.21</c:v>
                </c:pt>
                <c:pt idx="21">
                  <c:v>27.05.21</c:v>
                </c:pt>
                <c:pt idx="22">
                  <c:v>28.05.21</c:v>
                </c:pt>
                <c:pt idx="23">
                  <c:v>29.05.21</c:v>
                </c:pt>
                <c:pt idx="24">
                  <c:v>30.05.21</c:v>
                </c:pt>
                <c:pt idx="25">
                  <c:v>31.05.21</c:v>
                </c:pt>
                <c:pt idx="26">
                  <c:v>01.06.21</c:v>
                </c:pt>
                <c:pt idx="27">
                  <c:v>02.06.21</c:v>
                </c:pt>
                <c:pt idx="28">
                  <c:v>03.06.21</c:v>
                </c:pt>
                <c:pt idx="29">
                  <c:v>04.06.21</c:v>
                </c:pt>
                <c:pt idx="30">
                  <c:v>05.06.21</c:v>
                </c:pt>
                <c:pt idx="31">
                  <c:v>06.06.21</c:v>
                </c:pt>
                <c:pt idx="32">
                  <c:v>07.06.21</c:v>
                </c:pt>
                <c:pt idx="33">
                  <c:v>08.06.21</c:v>
                </c:pt>
                <c:pt idx="34">
                  <c:v>09.06.21</c:v>
                </c:pt>
                <c:pt idx="35">
                  <c:v>10.06.21</c:v>
                </c:pt>
                <c:pt idx="36">
                  <c:v>11.06.21</c:v>
                </c:pt>
                <c:pt idx="37">
                  <c:v>12.06.21</c:v>
                </c:pt>
                <c:pt idx="38">
                  <c:v>13.06.21</c:v>
                </c:pt>
                <c:pt idx="39">
                  <c:v>14.06.21</c:v>
                </c:pt>
                <c:pt idx="40">
                  <c:v>15.06.21</c:v>
                </c:pt>
                <c:pt idx="41">
                  <c:v>16.06.21</c:v>
                </c:pt>
                <c:pt idx="42">
                  <c:v>17.06.21</c:v>
                </c:pt>
                <c:pt idx="43">
                  <c:v>18.06.21</c:v>
                </c:pt>
                <c:pt idx="44">
                  <c:v>19.06.21</c:v>
                </c:pt>
                <c:pt idx="45">
                  <c:v>20.06.21</c:v>
                </c:pt>
                <c:pt idx="46">
                  <c:v>21.06.21</c:v>
                </c:pt>
                <c:pt idx="47">
                  <c:v>22.06.21</c:v>
                </c:pt>
                <c:pt idx="48">
                  <c:v>23.06.21</c:v>
                </c:pt>
                <c:pt idx="49">
                  <c:v>24.06.21</c:v>
                </c:pt>
                <c:pt idx="50">
                  <c:v>25.06.21</c:v>
                </c:pt>
                <c:pt idx="51">
                  <c:v>26.06.21</c:v>
                </c:pt>
                <c:pt idx="52">
                  <c:v>27.06.21</c:v>
                </c:pt>
                <c:pt idx="53">
                  <c:v>28.06.21</c:v>
                </c:pt>
                <c:pt idx="54">
                  <c:v>29.06.21</c:v>
                </c:pt>
                <c:pt idx="55">
                  <c:v>30.06.21</c:v>
                </c:pt>
                <c:pt idx="56">
                  <c:v>01.07.21</c:v>
                </c:pt>
                <c:pt idx="57">
                  <c:v>02.07.21</c:v>
                </c:pt>
                <c:pt idx="58">
                  <c:v>03.07.21</c:v>
                </c:pt>
                <c:pt idx="59">
                  <c:v>04.07.21</c:v>
                </c:pt>
                <c:pt idx="60">
                  <c:v>05.07.21</c:v>
                </c:pt>
                <c:pt idx="61">
                  <c:v>06.07.21</c:v>
                </c:pt>
                <c:pt idx="62">
                  <c:v>07.07.21</c:v>
                </c:pt>
                <c:pt idx="63">
                  <c:v>08.07.21</c:v>
                </c:pt>
                <c:pt idx="64">
                  <c:v>09.07.21</c:v>
                </c:pt>
                <c:pt idx="65">
                  <c:v>10.07.21</c:v>
                </c:pt>
                <c:pt idx="66">
                  <c:v>11.07.21</c:v>
                </c:pt>
                <c:pt idx="67">
                  <c:v>12.07.21</c:v>
                </c:pt>
                <c:pt idx="68">
                  <c:v>13.07.21</c:v>
                </c:pt>
                <c:pt idx="69">
                  <c:v>14.07.21</c:v>
                </c:pt>
                <c:pt idx="70">
                  <c:v>15.07.21</c:v>
                </c:pt>
                <c:pt idx="71">
                  <c:v>16.07.21</c:v>
                </c:pt>
                <c:pt idx="72">
                  <c:v>17.07.21</c:v>
                </c:pt>
                <c:pt idx="73">
                  <c:v>18.07.21</c:v>
                </c:pt>
                <c:pt idx="74">
                  <c:v>19.07.21</c:v>
                </c:pt>
                <c:pt idx="75">
                  <c:v>20.07.21</c:v>
                </c:pt>
                <c:pt idx="76">
                  <c:v>21.07.21</c:v>
                </c:pt>
                <c:pt idx="77">
                  <c:v>22.07.21</c:v>
                </c:pt>
                <c:pt idx="78">
                  <c:v>23.07.21</c:v>
                </c:pt>
                <c:pt idx="79">
                  <c:v>24.07.21</c:v>
                </c:pt>
                <c:pt idx="80">
                  <c:v>25.07.21</c:v>
                </c:pt>
                <c:pt idx="81">
                  <c:v>26.07.21</c:v>
                </c:pt>
                <c:pt idx="82">
                  <c:v>27.07.21</c:v>
                </c:pt>
                <c:pt idx="83">
                  <c:v>28.07.21</c:v>
                </c:pt>
                <c:pt idx="84">
                  <c:v>29.07.21</c:v>
                </c:pt>
                <c:pt idx="85">
                  <c:v>30.07.21</c:v>
                </c:pt>
                <c:pt idx="86">
                  <c:v>31.07.21</c:v>
                </c:pt>
                <c:pt idx="87">
                  <c:v>01.08.21</c:v>
                </c:pt>
                <c:pt idx="88">
                  <c:v>02.08.21</c:v>
                </c:pt>
                <c:pt idx="89">
                  <c:v>03.08.21</c:v>
                </c:pt>
                <c:pt idx="90">
                  <c:v>04.08.21</c:v>
                </c:pt>
                <c:pt idx="91">
                  <c:v>05.08.21</c:v>
                </c:pt>
                <c:pt idx="92">
                  <c:v>06.08.21</c:v>
                </c:pt>
                <c:pt idx="93">
                  <c:v>07.08.21</c:v>
                </c:pt>
                <c:pt idx="94">
                  <c:v>08.08.21</c:v>
                </c:pt>
                <c:pt idx="95">
                  <c:v>09.08.21</c:v>
                </c:pt>
                <c:pt idx="96">
                  <c:v>10.08.21</c:v>
                </c:pt>
                <c:pt idx="97">
                  <c:v>11.08.21</c:v>
                </c:pt>
                <c:pt idx="98">
                  <c:v>12.08.21</c:v>
                </c:pt>
                <c:pt idx="99">
                  <c:v>13.08.21</c:v>
                </c:pt>
                <c:pt idx="100">
                  <c:v>14.08.21</c:v>
                </c:pt>
                <c:pt idx="101">
                  <c:v>15.08.21</c:v>
                </c:pt>
                <c:pt idx="102">
                  <c:v>16.08.21</c:v>
                </c:pt>
                <c:pt idx="103">
                  <c:v>17.08.21</c:v>
                </c:pt>
                <c:pt idx="104">
                  <c:v>18.08.21</c:v>
                </c:pt>
                <c:pt idx="105">
                  <c:v>19.08.21</c:v>
                </c:pt>
                <c:pt idx="106">
                  <c:v>20.08.21</c:v>
                </c:pt>
                <c:pt idx="107">
                  <c:v>21.08.21</c:v>
                </c:pt>
                <c:pt idx="108">
                  <c:v>22.08.21</c:v>
                </c:pt>
                <c:pt idx="109">
                  <c:v>23.08.21</c:v>
                </c:pt>
                <c:pt idx="110">
                  <c:v>24.08.21</c:v>
                </c:pt>
                <c:pt idx="111">
                  <c:v>25.08.21</c:v>
                </c:pt>
                <c:pt idx="112">
                  <c:v>26.08.21</c:v>
                </c:pt>
                <c:pt idx="113">
                  <c:v>27.08.21</c:v>
                </c:pt>
                <c:pt idx="114">
                  <c:v>28.08.21</c:v>
                </c:pt>
                <c:pt idx="115">
                  <c:v>29.08.21</c:v>
                </c:pt>
                <c:pt idx="116">
                  <c:v>30.08.21</c:v>
                </c:pt>
                <c:pt idx="117">
                  <c:v>31.08.21</c:v>
                </c:pt>
                <c:pt idx="118">
                  <c:v>01.09.21</c:v>
                </c:pt>
                <c:pt idx="119">
                  <c:v>02.09.21</c:v>
                </c:pt>
                <c:pt idx="120">
                  <c:v>03.09.21</c:v>
                </c:pt>
                <c:pt idx="121">
                  <c:v>04.09.21</c:v>
                </c:pt>
                <c:pt idx="122">
                  <c:v>05.09.21</c:v>
                </c:pt>
                <c:pt idx="123">
                  <c:v>06.09.21</c:v>
                </c:pt>
                <c:pt idx="124">
                  <c:v>07.09.21</c:v>
                </c:pt>
                <c:pt idx="125">
                  <c:v>08.09.21</c:v>
                </c:pt>
                <c:pt idx="126">
                  <c:v>09.09.21</c:v>
                </c:pt>
              </c:strCache>
            </c:strRef>
          </c:cat>
          <c:val>
            <c:numRef>
              <c:f>List1!$B$3:$DX$3</c:f>
              <c:numCache>
                <c:formatCode>General</c:formatCode>
                <c:ptCount val="127"/>
                <c:pt idx="0">
                  <c:v>135</c:v>
                </c:pt>
                <c:pt idx="1">
                  <c:v>137</c:v>
                </c:pt>
                <c:pt idx="2">
                  <c:v>135</c:v>
                </c:pt>
                <c:pt idx="3">
                  <c:v>134</c:v>
                </c:pt>
                <c:pt idx="4">
                  <c:v>131</c:v>
                </c:pt>
                <c:pt idx="5">
                  <c:v>139</c:v>
                </c:pt>
                <c:pt idx="6">
                  <c:v>138</c:v>
                </c:pt>
                <c:pt idx="7">
                  <c:v>131</c:v>
                </c:pt>
                <c:pt idx="8">
                  <c:v>124</c:v>
                </c:pt>
                <c:pt idx="9">
                  <c:v>119</c:v>
                </c:pt>
                <c:pt idx="10">
                  <c:v>117</c:v>
                </c:pt>
                <c:pt idx="11">
                  <c:v>105</c:v>
                </c:pt>
                <c:pt idx="12">
                  <c:v>98</c:v>
                </c:pt>
                <c:pt idx="13">
                  <c:v>89</c:v>
                </c:pt>
                <c:pt idx="14">
                  <c:v>88</c:v>
                </c:pt>
                <c:pt idx="15">
                  <c:v>77</c:v>
                </c:pt>
                <c:pt idx="16">
                  <c:v>75</c:v>
                </c:pt>
                <c:pt idx="17">
                  <c:v>74</c:v>
                </c:pt>
                <c:pt idx="18">
                  <c:v>58</c:v>
                </c:pt>
                <c:pt idx="19">
                  <c:v>52</c:v>
                </c:pt>
                <c:pt idx="20">
                  <c:v>51</c:v>
                </c:pt>
                <c:pt idx="21">
                  <c:v>42</c:v>
                </c:pt>
                <c:pt idx="22">
                  <c:v>40</c:v>
                </c:pt>
                <c:pt idx="23">
                  <c:v>37</c:v>
                </c:pt>
                <c:pt idx="24">
                  <c:v>36</c:v>
                </c:pt>
                <c:pt idx="25">
                  <c:v>32</c:v>
                </c:pt>
                <c:pt idx="26">
                  <c:v>32</c:v>
                </c:pt>
                <c:pt idx="27">
                  <c:v>28</c:v>
                </c:pt>
                <c:pt idx="28">
                  <c:v>30</c:v>
                </c:pt>
                <c:pt idx="29">
                  <c:v>27</c:v>
                </c:pt>
                <c:pt idx="30">
                  <c:v>26</c:v>
                </c:pt>
                <c:pt idx="31">
                  <c:v>27</c:v>
                </c:pt>
                <c:pt idx="32">
                  <c:v>25</c:v>
                </c:pt>
                <c:pt idx="33">
                  <c:v>22</c:v>
                </c:pt>
                <c:pt idx="34">
                  <c:v>19</c:v>
                </c:pt>
                <c:pt idx="35">
                  <c:v>19</c:v>
                </c:pt>
                <c:pt idx="36">
                  <c:v>16</c:v>
                </c:pt>
                <c:pt idx="37">
                  <c:v>17</c:v>
                </c:pt>
                <c:pt idx="38">
                  <c:v>19</c:v>
                </c:pt>
                <c:pt idx="39">
                  <c:v>17</c:v>
                </c:pt>
                <c:pt idx="40">
                  <c:v>15</c:v>
                </c:pt>
                <c:pt idx="41">
                  <c:v>15</c:v>
                </c:pt>
                <c:pt idx="42">
                  <c:v>14</c:v>
                </c:pt>
                <c:pt idx="43">
                  <c:v>15</c:v>
                </c:pt>
                <c:pt idx="44">
                  <c:v>16</c:v>
                </c:pt>
                <c:pt idx="45">
                  <c:v>16</c:v>
                </c:pt>
                <c:pt idx="46">
                  <c:v>15</c:v>
                </c:pt>
                <c:pt idx="47">
                  <c:v>13</c:v>
                </c:pt>
                <c:pt idx="48">
                  <c:v>13</c:v>
                </c:pt>
                <c:pt idx="49">
                  <c:v>13</c:v>
                </c:pt>
                <c:pt idx="50">
                  <c:v>12</c:v>
                </c:pt>
                <c:pt idx="51">
                  <c:v>12</c:v>
                </c:pt>
                <c:pt idx="52">
                  <c:v>10</c:v>
                </c:pt>
                <c:pt idx="53">
                  <c:v>11</c:v>
                </c:pt>
                <c:pt idx="54">
                  <c:v>13</c:v>
                </c:pt>
                <c:pt idx="55">
                  <c:v>12</c:v>
                </c:pt>
                <c:pt idx="56">
                  <c:v>11</c:v>
                </c:pt>
                <c:pt idx="57">
                  <c:v>11</c:v>
                </c:pt>
                <c:pt idx="58">
                  <c:v>11</c:v>
                </c:pt>
                <c:pt idx="59">
                  <c:v>12</c:v>
                </c:pt>
                <c:pt idx="60">
                  <c:v>16</c:v>
                </c:pt>
                <c:pt idx="61">
                  <c:v>16</c:v>
                </c:pt>
                <c:pt idx="62">
                  <c:v>16</c:v>
                </c:pt>
                <c:pt idx="63">
                  <c:v>15</c:v>
                </c:pt>
                <c:pt idx="64">
                  <c:v>15</c:v>
                </c:pt>
                <c:pt idx="65">
                  <c:v>15</c:v>
                </c:pt>
                <c:pt idx="66">
                  <c:v>14</c:v>
                </c:pt>
                <c:pt idx="67">
                  <c:v>14</c:v>
                </c:pt>
                <c:pt idx="68">
                  <c:v>16</c:v>
                </c:pt>
                <c:pt idx="69">
                  <c:v>18</c:v>
                </c:pt>
                <c:pt idx="70">
                  <c:v>19</c:v>
                </c:pt>
                <c:pt idx="71">
                  <c:v>17</c:v>
                </c:pt>
                <c:pt idx="72">
                  <c:v>16</c:v>
                </c:pt>
                <c:pt idx="73">
                  <c:v>16</c:v>
                </c:pt>
                <c:pt idx="74">
                  <c:v>18</c:v>
                </c:pt>
                <c:pt idx="75">
                  <c:v>18</c:v>
                </c:pt>
                <c:pt idx="76">
                  <c:v>21</c:v>
                </c:pt>
                <c:pt idx="77">
                  <c:v>21</c:v>
                </c:pt>
                <c:pt idx="78">
                  <c:v>24</c:v>
                </c:pt>
                <c:pt idx="79">
                  <c:v>25</c:v>
                </c:pt>
                <c:pt idx="80">
                  <c:v>26</c:v>
                </c:pt>
                <c:pt idx="81">
                  <c:v>25</c:v>
                </c:pt>
                <c:pt idx="82">
                  <c:v>23</c:v>
                </c:pt>
                <c:pt idx="83">
                  <c:v>22</c:v>
                </c:pt>
                <c:pt idx="84">
                  <c:v>21</c:v>
                </c:pt>
                <c:pt idx="85">
                  <c:v>22</c:v>
                </c:pt>
                <c:pt idx="86">
                  <c:v>22</c:v>
                </c:pt>
                <c:pt idx="87">
                  <c:v>22</c:v>
                </c:pt>
                <c:pt idx="88">
                  <c:v>18</c:v>
                </c:pt>
                <c:pt idx="89">
                  <c:v>20</c:v>
                </c:pt>
                <c:pt idx="90">
                  <c:v>18</c:v>
                </c:pt>
                <c:pt idx="91">
                  <c:v>17</c:v>
                </c:pt>
                <c:pt idx="92">
                  <c:v>14</c:v>
                </c:pt>
                <c:pt idx="93">
                  <c:v>13</c:v>
                </c:pt>
                <c:pt idx="94">
                  <c:v>10</c:v>
                </c:pt>
                <c:pt idx="95">
                  <c:v>12</c:v>
                </c:pt>
                <c:pt idx="96">
                  <c:v>14</c:v>
                </c:pt>
                <c:pt idx="97">
                  <c:v>16</c:v>
                </c:pt>
                <c:pt idx="98">
                  <c:v>16</c:v>
                </c:pt>
                <c:pt idx="99">
                  <c:v>18</c:v>
                </c:pt>
                <c:pt idx="100">
                  <c:v>19</c:v>
                </c:pt>
                <c:pt idx="101">
                  <c:v>20</c:v>
                </c:pt>
                <c:pt idx="102">
                  <c:v>22</c:v>
                </c:pt>
                <c:pt idx="103">
                  <c:v>24</c:v>
                </c:pt>
                <c:pt idx="104">
                  <c:v>25</c:v>
                </c:pt>
                <c:pt idx="105">
                  <c:v>25</c:v>
                </c:pt>
                <c:pt idx="106">
                  <c:v>25</c:v>
                </c:pt>
                <c:pt idx="107">
                  <c:v>25</c:v>
                </c:pt>
                <c:pt idx="108">
                  <c:v>25</c:v>
                </c:pt>
                <c:pt idx="109">
                  <c:v>27</c:v>
                </c:pt>
                <c:pt idx="110">
                  <c:v>28</c:v>
                </c:pt>
                <c:pt idx="111">
                  <c:v>25</c:v>
                </c:pt>
                <c:pt idx="112">
                  <c:v>26</c:v>
                </c:pt>
                <c:pt idx="113">
                  <c:v>26</c:v>
                </c:pt>
                <c:pt idx="114">
                  <c:v>26</c:v>
                </c:pt>
                <c:pt idx="115">
                  <c:v>25</c:v>
                </c:pt>
                <c:pt idx="116">
                  <c:v>20</c:v>
                </c:pt>
                <c:pt idx="117">
                  <c:v>21</c:v>
                </c:pt>
                <c:pt idx="118">
                  <c:v>19</c:v>
                </c:pt>
                <c:pt idx="119">
                  <c:v>24</c:v>
                </c:pt>
                <c:pt idx="120">
                  <c:v>30</c:v>
                </c:pt>
                <c:pt idx="121">
                  <c:v>31</c:v>
                </c:pt>
                <c:pt idx="122">
                  <c:v>29</c:v>
                </c:pt>
                <c:pt idx="123">
                  <c:v>30</c:v>
                </c:pt>
                <c:pt idx="124">
                  <c:v>34</c:v>
                </c:pt>
                <c:pt idx="125">
                  <c:v>35</c:v>
                </c:pt>
                <c:pt idx="126">
                  <c:v>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26"/>
              <c:layout>
                <c:manualLayout>
                  <c:x val="0"/>
                  <c:y val="-6.4994662841167436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952641068222655"/>
                      <c:h val="0.1113685667177562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8F9-4032-83D2-8A4706951B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DX$1</c:f>
              <c:strCache>
                <c:ptCount val="127"/>
                <c:pt idx="0">
                  <c:v>06.05.21</c:v>
                </c:pt>
                <c:pt idx="1">
                  <c:v>07.05.21</c:v>
                </c:pt>
                <c:pt idx="2">
                  <c:v>08.05.21</c:v>
                </c:pt>
                <c:pt idx="3">
                  <c:v>09.05.21</c:v>
                </c:pt>
                <c:pt idx="4">
                  <c:v>10.05.21</c:v>
                </c:pt>
                <c:pt idx="5">
                  <c:v>11.05.21</c:v>
                </c:pt>
                <c:pt idx="6">
                  <c:v>12.05.21</c:v>
                </c:pt>
                <c:pt idx="7">
                  <c:v>13.05.21</c:v>
                </c:pt>
                <c:pt idx="8">
                  <c:v>14.05.21</c:v>
                </c:pt>
                <c:pt idx="9">
                  <c:v>15.05.21</c:v>
                </c:pt>
                <c:pt idx="10">
                  <c:v>16.05.21</c:v>
                </c:pt>
                <c:pt idx="11">
                  <c:v>17.05.21</c:v>
                </c:pt>
                <c:pt idx="12">
                  <c:v>18.05.21</c:v>
                </c:pt>
                <c:pt idx="13">
                  <c:v>19.05.21</c:v>
                </c:pt>
                <c:pt idx="14">
                  <c:v>20.05.21</c:v>
                </c:pt>
                <c:pt idx="15">
                  <c:v>21.05.21</c:v>
                </c:pt>
                <c:pt idx="16">
                  <c:v>22.05.21</c:v>
                </c:pt>
                <c:pt idx="17">
                  <c:v>23.05.21</c:v>
                </c:pt>
                <c:pt idx="18">
                  <c:v>24.05.21</c:v>
                </c:pt>
                <c:pt idx="19">
                  <c:v>25.05.21</c:v>
                </c:pt>
                <c:pt idx="20">
                  <c:v>26.05.21</c:v>
                </c:pt>
                <c:pt idx="21">
                  <c:v>27.05.21</c:v>
                </c:pt>
                <c:pt idx="22">
                  <c:v>28.05.21</c:v>
                </c:pt>
                <c:pt idx="23">
                  <c:v>29.05.21</c:v>
                </c:pt>
                <c:pt idx="24">
                  <c:v>30.05.21</c:v>
                </c:pt>
                <c:pt idx="25">
                  <c:v>31.05.21</c:v>
                </c:pt>
                <c:pt idx="26">
                  <c:v>01.06.21</c:v>
                </c:pt>
                <c:pt idx="27">
                  <c:v>02.06.21</c:v>
                </c:pt>
                <c:pt idx="28">
                  <c:v>03.06.21</c:v>
                </c:pt>
                <c:pt idx="29">
                  <c:v>04.06.21</c:v>
                </c:pt>
                <c:pt idx="30">
                  <c:v>05.06.21</c:v>
                </c:pt>
                <c:pt idx="31">
                  <c:v>06.06.21</c:v>
                </c:pt>
                <c:pt idx="32">
                  <c:v>07.06.21</c:v>
                </c:pt>
                <c:pt idx="33">
                  <c:v>08.06.21</c:v>
                </c:pt>
                <c:pt idx="34">
                  <c:v>09.06.21</c:v>
                </c:pt>
                <c:pt idx="35">
                  <c:v>10.06.21</c:v>
                </c:pt>
                <c:pt idx="36">
                  <c:v>11.06.21</c:v>
                </c:pt>
                <c:pt idx="37">
                  <c:v>12.06.21</c:v>
                </c:pt>
                <c:pt idx="38">
                  <c:v>13.06.21</c:v>
                </c:pt>
                <c:pt idx="39">
                  <c:v>14.06.21</c:v>
                </c:pt>
                <c:pt idx="40">
                  <c:v>15.06.21</c:v>
                </c:pt>
                <c:pt idx="41">
                  <c:v>16.06.21</c:v>
                </c:pt>
                <c:pt idx="42">
                  <c:v>17.06.21</c:v>
                </c:pt>
                <c:pt idx="43">
                  <c:v>18.06.21</c:v>
                </c:pt>
                <c:pt idx="44">
                  <c:v>19.06.21</c:v>
                </c:pt>
                <c:pt idx="45">
                  <c:v>20.06.21</c:v>
                </c:pt>
                <c:pt idx="46">
                  <c:v>21.06.21</c:v>
                </c:pt>
                <c:pt idx="47">
                  <c:v>22.06.21</c:v>
                </c:pt>
                <c:pt idx="48">
                  <c:v>23.06.21</c:v>
                </c:pt>
                <c:pt idx="49">
                  <c:v>24.06.21</c:v>
                </c:pt>
                <c:pt idx="50">
                  <c:v>25.06.21</c:v>
                </c:pt>
                <c:pt idx="51">
                  <c:v>26.06.21</c:v>
                </c:pt>
                <c:pt idx="52">
                  <c:v>27.06.21</c:v>
                </c:pt>
                <c:pt idx="53">
                  <c:v>28.06.21</c:v>
                </c:pt>
                <c:pt idx="54">
                  <c:v>29.06.21</c:v>
                </c:pt>
                <c:pt idx="55">
                  <c:v>30.06.21</c:v>
                </c:pt>
                <c:pt idx="56">
                  <c:v>01.07.21</c:v>
                </c:pt>
                <c:pt idx="57">
                  <c:v>02.07.21</c:v>
                </c:pt>
                <c:pt idx="58">
                  <c:v>03.07.21</c:v>
                </c:pt>
                <c:pt idx="59">
                  <c:v>04.07.21</c:v>
                </c:pt>
                <c:pt idx="60">
                  <c:v>05.07.21</c:v>
                </c:pt>
                <c:pt idx="61">
                  <c:v>06.07.21</c:v>
                </c:pt>
                <c:pt idx="62">
                  <c:v>07.07.21</c:v>
                </c:pt>
                <c:pt idx="63">
                  <c:v>08.07.21</c:v>
                </c:pt>
                <c:pt idx="64">
                  <c:v>09.07.21</c:v>
                </c:pt>
                <c:pt idx="65">
                  <c:v>10.07.21</c:v>
                </c:pt>
                <c:pt idx="66">
                  <c:v>11.07.21</c:v>
                </c:pt>
                <c:pt idx="67">
                  <c:v>12.07.21</c:v>
                </c:pt>
                <c:pt idx="68">
                  <c:v>13.07.21</c:v>
                </c:pt>
                <c:pt idx="69">
                  <c:v>14.07.21</c:v>
                </c:pt>
                <c:pt idx="70">
                  <c:v>15.07.21</c:v>
                </c:pt>
                <c:pt idx="71">
                  <c:v>16.07.21</c:v>
                </c:pt>
                <c:pt idx="72">
                  <c:v>17.07.21</c:v>
                </c:pt>
                <c:pt idx="73">
                  <c:v>18.07.21</c:v>
                </c:pt>
                <c:pt idx="74">
                  <c:v>19.07.21</c:v>
                </c:pt>
                <c:pt idx="75">
                  <c:v>20.07.21</c:v>
                </c:pt>
                <c:pt idx="76">
                  <c:v>21.07.21</c:v>
                </c:pt>
                <c:pt idx="77">
                  <c:v>22.07.21</c:v>
                </c:pt>
                <c:pt idx="78">
                  <c:v>23.07.21</c:v>
                </c:pt>
                <c:pt idx="79">
                  <c:v>24.07.21</c:v>
                </c:pt>
                <c:pt idx="80">
                  <c:v>25.07.21</c:v>
                </c:pt>
                <c:pt idx="81">
                  <c:v>26.07.21</c:v>
                </c:pt>
                <c:pt idx="82">
                  <c:v>27.07.21</c:v>
                </c:pt>
                <c:pt idx="83">
                  <c:v>28.07.21</c:v>
                </c:pt>
                <c:pt idx="84">
                  <c:v>29.07.21</c:v>
                </c:pt>
                <c:pt idx="85">
                  <c:v>30.07.21</c:v>
                </c:pt>
                <c:pt idx="86">
                  <c:v>31.07.21</c:v>
                </c:pt>
                <c:pt idx="87">
                  <c:v>01.08.21</c:v>
                </c:pt>
                <c:pt idx="88">
                  <c:v>02.08.21</c:v>
                </c:pt>
                <c:pt idx="89">
                  <c:v>03.08.21</c:v>
                </c:pt>
                <c:pt idx="90">
                  <c:v>04.08.21</c:v>
                </c:pt>
                <c:pt idx="91">
                  <c:v>05.08.21</c:v>
                </c:pt>
                <c:pt idx="92">
                  <c:v>06.08.21</c:v>
                </c:pt>
                <c:pt idx="93">
                  <c:v>07.08.21</c:v>
                </c:pt>
                <c:pt idx="94">
                  <c:v>08.08.21</c:v>
                </c:pt>
                <c:pt idx="95">
                  <c:v>09.08.21</c:v>
                </c:pt>
                <c:pt idx="96">
                  <c:v>10.08.21</c:v>
                </c:pt>
                <c:pt idx="97">
                  <c:v>11.08.21</c:v>
                </c:pt>
                <c:pt idx="98">
                  <c:v>12.08.21</c:v>
                </c:pt>
                <c:pt idx="99">
                  <c:v>13.08.21</c:v>
                </c:pt>
                <c:pt idx="100">
                  <c:v>14.08.21</c:v>
                </c:pt>
                <c:pt idx="101">
                  <c:v>15.08.21</c:v>
                </c:pt>
                <c:pt idx="102">
                  <c:v>16.08.21</c:v>
                </c:pt>
                <c:pt idx="103">
                  <c:v>17.08.21</c:v>
                </c:pt>
                <c:pt idx="104">
                  <c:v>18.08.21</c:v>
                </c:pt>
                <c:pt idx="105">
                  <c:v>19.08.21</c:v>
                </c:pt>
                <c:pt idx="106">
                  <c:v>20.08.21</c:v>
                </c:pt>
                <c:pt idx="107">
                  <c:v>21.08.21</c:v>
                </c:pt>
                <c:pt idx="108">
                  <c:v>22.08.21</c:v>
                </c:pt>
                <c:pt idx="109">
                  <c:v>23.08.21</c:v>
                </c:pt>
                <c:pt idx="110">
                  <c:v>24.08.21</c:v>
                </c:pt>
                <c:pt idx="111">
                  <c:v>25.08.21</c:v>
                </c:pt>
                <c:pt idx="112">
                  <c:v>26.08.21</c:v>
                </c:pt>
                <c:pt idx="113">
                  <c:v>27.08.21</c:v>
                </c:pt>
                <c:pt idx="114">
                  <c:v>28.08.21</c:v>
                </c:pt>
                <c:pt idx="115">
                  <c:v>29.08.21</c:v>
                </c:pt>
                <c:pt idx="116">
                  <c:v>30.08.21</c:v>
                </c:pt>
                <c:pt idx="117">
                  <c:v>31.08.21</c:v>
                </c:pt>
                <c:pt idx="118">
                  <c:v>01.09.21</c:v>
                </c:pt>
                <c:pt idx="119">
                  <c:v>02.09.21</c:v>
                </c:pt>
                <c:pt idx="120">
                  <c:v>03.09.21</c:v>
                </c:pt>
                <c:pt idx="121">
                  <c:v>04.09.21</c:v>
                </c:pt>
                <c:pt idx="122">
                  <c:v>05.09.21</c:v>
                </c:pt>
                <c:pt idx="123">
                  <c:v>06.09.21</c:v>
                </c:pt>
                <c:pt idx="124">
                  <c:v>07.09.21</c:v>
                </c:pt>
                <c:pt idx="125">
                  <c:v>08.09.21</c:v>
                </c:pt>
                <c:pt idx="126">
                  <c:v>09.09.21</c:v>
                </c:pt>
              </c:strCache>
            </c:strRef>
          </c:cat>
          <c:val>
            <c:numRef>
              <c:f>List1!$B$4:$DX$4</c:f>
              <c:numCache>
                <c:formatCode>General</c:formatCode>
                <c:ptCount val="127"/>
                <c:pt idx="0">
                  <c:v>175</c:v>
                </c:pt>
                <c:pt idx="1">
                  <c:v>176</c:v>
                </c:pt>
                <c:pt idx="2">
                  <c:v>177</c:v>
                </c:pt>
                <c:pt idx="3">
                  <c:v>174</c:v>
                </c:pt>
                <c:pt idx="4">
                  <c:v>159</c:v>
                </c:pt>
                <c:pt idx="5">
                  <c:v>160</c:v>
                </c:pt>
                <c:pt idx="6">
                  <c:v>154</c:v>
                </c:pt>
                <c:pt idx="7">
                  <c:v>143</c:v>
                </c:pt>
                <c:pt idx="8">
                  <c:v>133</c:v>
                </c:pt>
                <c:pt idx="9">
                  <c:v>135</c:v>
                </c:pt>
                <c:pt idx="10">
                  <c:v>135</c:v>
                </c:pt>
                <c:pt idx="11">
                  <c:v>125</c:v>
                </c:pt>
                <c:pt idx="12">
                  <c:v>116</c:v>
                </c:pt>
                <c:pt idx="13">
                  <c:v>106</c:v>
                </c:pt>
                <c:pt idx="14">
                  <c:v>100</c:v>
                </c:pt>
                <c:pt idx="15">
                  <c:v>90</c:v>
                </c:pt>
                <c:pt idx="16">
                  <c:v>89</c:v>
                </c:pt>
                <c:pt idx="17">
                  <c:v>87</c:v>
                </c:pt>
                <c:pt idx="18">
                  <c:v>79</c:v>
                </c:pt>
                <c:pt idx="19">
                  <c:v>65</c:v>
                </c:pt>
                <c:pt idx="20">
                  <c:v>60</c:v>
                </c:pt>
                <c:pt idx="21">
                  <c:v>51</c:v>
                </c:pt>
                <c:pt idx="22">
                  <c:v>42</c:v>
                </c:pt>
                <c:pt idx="23">
                  <c:v>41</c:v>
                </c:pt>
                <c:pt idx="24">
                  <c:v>41</c:v>
                </c:pt>
                <c:pt idx="25">
                  <c:v>35</c:v>
                </c:pt>
                <c:pt idx="26">
                  <c:v>30</c:v>
                </c:pt>
                <c:pt idx="27">
                  <c:v>25</c:v>
                </c:pt>
                <c:pt idx="28">
                  <c:v>23</c:v>
                </c:pt>
                <c:pt idx="29">
                  <c:v>19</c:v>
                </c:pt>
                <c:pt idx="30">
                  <c:v>20</c:v>
                </c:pt>
                <c:pt idx="31">
                  <c:v>19</c:v>
                </c:pt>
                <c:pt idx="32">
                  <c:v>16</c:v>
                </c:pt>
                <c:pt idx="33">
                  <c:v>14</c:v>
                </c:pt>
                <c:pt idx="34">
                  <c:v>13</c:v>
                </c:pt>
                <c:pt idx="35">
                  <c:v>12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7</c:v>
                </c:pt>
                <c:pt idx="40">
                  <c:v>6</c:v>
                </c:pt>
                <c:pt idx="41">
                  <c:v>7</c:v>
                </c:pt>
                <c:pt idx="42">
                  <c:v>8</c:v>
                </c:pt>
                <c:pt idx="43">
                  <c:v>8</c:v>
                </c:pt>
                <c:pt idx="44">
                  <c:v>6</c:v>
                </c:pt>
                <c:pt idx="45">
                  <c:v>7</c:v>
                </c:pt>
                <c:pt idx="46">
                  <c:v>6</c:v>
                </c:pt>
                <c:pt idx="47">
                  <c:v>4</c:v>
                </c:pt>
                <c:pt idx="48">
                  <c:v>6</c:v>
                </c:pt>
                <c:pt idx="49">
                  <c:v>7</c:v>
                </c:pt>
                <c:pt idx="50">
                  <c:v>6</c:v>
                </c:pt>
                <c:pt idx="51">
                  <c:v>7</c:v>
                </c:pt>
                <c:pt idx="52">
                  <c:v>9</c:v>
                </c:pt>
                <c:pt idx="53">
                  <c:v>9</c:v>
                </c:pt>
                <c:pt idx="54">
                  <c:v>10</c:v>
                </c:pt>
                <c:pt idx="55">
                  <c:v>10</c:v>
                </c:pt>
                <c:pt idx="56">
                  <c:v>9</c:v>
                </c:pt>
                <c:pt idx="57">
                  <c:v>10</c:v>
                </c:pt>
                <c:pt idx="58">
                  <c:v>8</c:v>
                </c:pt>
                <c:pt idx="59">
                  <c:v>8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12</c:v>
                </c:pt>
                <c:pt idx="64">
                  <c:v>15</c:v>
                </c:pt>
                <c:pt idx="65">
                  <c:v>14</c:v>
                </c:pt>
                <c:pt idx="66">
                  <c:v>13</c:v>
                </c:pt>
                <c:pt idx="67">
                  <c:v>15</c:v>
                </c:pt>
                <c:pt idx="68">
                  <c:v>15</c:v>
                </c:pt>
                <c:pt idx="69">
                  <c:v>19</c:v>
                </c:pt>
                <c:pt idx="70">
                  <c:v>21</c:v>
                </c:pt>
                <c:pt idx="71">
                  <c:v>25</c:v>
                </c:pt>
                <c:pt idx="72">
                  <c:v>26</c:v>
                </c:pt>
                <c:pt idx="73">
                  <c:v>27</c:v>
                </c:pt>
                <c:pt idx="74">
                  <c:v>29</c:v>
                </c:pt>
                <c:pt idx="75">
                  <c:v>34</c:v>
                </c:pt>
                <c:pt idx="76">
                  <c:v>33</c:v>
                </c:pt>
                <c:pt idx="77">
                  <c:v>32</c:v>
                </c:pt>
                <c:pt idx="78">
                  <c:v>31</c:v>
                </c:pt>
                <c:pt idx="79">
                  <c:v>31</c:v>
                </c:pt>
                <c:pt idx="80">
                  <c:v>31</c:v>
                </c:pt>
                <c:pt idx="81">
                  <c:v>32</c:v>
                </c:pt>
                <c:pt idx="82">
                  <c:v>36</c:v>
                </c:pt>
                <c:pt idx="83">
                  <c:v>33</c:v>
                </c:pt>
                <c:pt idx="84">
                  <c:v>32</c:v>
                </c:pt>
                <c:pt idx="85">
                  <c:v>30</c:v>
                </c:pt>
                <c:pt idx="86">
                  <c:v>30</c:v>
                </c:pt>
                <c:pt idx="87">
                  <c:v>28</c:v>
                </c:pt>
                <c:pt idx="88">
                  <c:v>26</c:v>
                </c:pt>
                <c:pt idx="89">
                  <c:v>28</c:v>
                </c:pt>
                <c:pt idx="90">
                  <c:v>30</c:v>
                </c:pt>
                <c:pt idx="91">
                  <c:v>26</c:v>
                </c:pt>
                <c:pt idx="92">
                  <c:v>27</c:v>
                </c:pt>
                <c:pt idx="93">
                  <c:v>27</c:v>
                </c:pt>
                <c:pt idx="94">
                  <c:v>25</c:v>
                </c:pt>
                <c:pt idx="95">
                  <c:v>27</c:v>
                </c:pt>
                <c:pt idx="96">
                  <c:v>25</c:v>
                </c:pt>
                <c:pt idx="97">
                  <c:v>25</c:v>
                </c:pt>
                <c:pt idx="98">
                  <c:v>24</c:v>
                </c:pt>
                <c:pt idx="99">
                  <c:v>29</c:v>
                </c:pt>
                <c:pt idx="100">
                  <c:v>30</c:v>
                </c:pt>
                <c:pt idx="101">
                  <c:v>30</c:v>
                </c:pt>
                <c:pt idx="102">
                  <c:v>28</c:v>
                </c:pt>
                <c:pt idx="103">
                  <c:v>25</c:v>
                </c:pt>
                <c:pt idx="104">
                  <c:v>24</c:v>
                </c:pt>
                <c:pt idx="105">
                  <c:v>22</c:v>
                </c:pt>
                <c:pt idx="106">
                  <c:v>24</c:v>
                </c:pt>
                <c:pt idx="107">
                  <c:v>24</c:v>
                </c:pt>
                <c:pt idx="108">
                  <c:v>25</c:v>
                </c:pt>
                <c:pt idx="109">
                  <c:v>22</c:v>
                </c:pt>
                <c:pt idx="110">
                  <c:v>23</c:v>
                </c:pt>
                <c:pt idx="111">
                  <c:v>27</c:v>
                </c:pt>
                <c:pt idx="112">
                  <c:v>25</c:v>
                </c:pt>
                <c:pt idx="113">
                  <c:v>23</c:v>
                </c:pt>
                <c:pt idx="114">
                  <c:v>21</c:v>
                </c:pt>
                <c:pt idx="115">
                  <c:v>22</c:v>
                </c:pt>
                <c:pt idx="116">
                  <c:v>20</c:v>
                </c:pt>
                <c:pt idx="117">
                  <c:v>20</c:v>
                </c:pt>
                <c:pt idx="118">
                  <c:v>22</c:v>
                </c:pt>
                <c:pt idx="119">
                  <c:v>26</c:v>
                </c:pt>
                <c:pt idx="120">
                  <c:v>28</c:v>
                </c:pt>
                <c:pt idx="121">
                  <c:v>32</c:v>
                </c:pt>
                <c:pt idx="122">
                  <c:v>31</c:v>
                </c:pt>
                <c:pt idx="123">
                  <c:v>36</c:v>
                </c:pt>
                <c:pt idx="124">
                  <c:v>40</c:v>
                </c:pt>
                <c:pt idx="125">
                  <c:v>41</c:v>
                </c:pt>
                <c:pt idx="126">
                  <c:v>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aj Vysočina</c:v>
                </c:pt>
                <c:pt idx="2">
                  <c:v>Liberecký kraj</c:v>
                </c:pt>
                <c:pt idx="3">
                  <c:v>Hlavní město Praha</c:v>
                </c:pt>
                <c:pt idx="4">
                  <c:v>Královéhradecký kraj</c:v>
                </c:pt>
                <c:pt idx="5">
                  <c:v>Středočeský kraj</c:v>
                </c:pt>
                <c:pt idx="6">
                  <c:v>Ústecký kraj</c:v>
                </c:pt>
                <c:pt idx="7">
                  <c:v>Jihočeský kraj</c:v>
                </c:pt>
                <c:pt idx="8">
                  <c:v>Pardubický kraj</c:v>
                </c:pt>
                <c:pt idx="9">
                  <c:v>ČR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Karlovarský kraj</c:v>
                </c:pt>
                <c:pt idx="13">
                  <c:v>Zlín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1.067539999999994</c:v>
                </c:pt>
                <c:pt idx="1">
                  <c:v>88.379199999999997</c:v>
                </c:pt>
                <c:pt idx="2">
                  <c:v>88.070459999999997</c:v>
                </c:pt>
                <c:pt idx="3">
                  <c:v>87.534790000000001</c:v>
                </c:pt>
                <c:pt idx="4">
                  <c:v>87.388800000000003</c:v>
                </c:pt>
                <c:pt idx="5">
                  <c:v>87.235969999999995</c:v>
                </c:pt>
                <c:pt idx="6">
                  <c:v>86.942149999999998</c:v>
                </c:pt>
                <c:pt idx="7">
                  <c:v>86.620069999999998</c:v>
                </c:pt>
                <c:pt idx="8">
                  <c:v>86.439390000000003</c:v>
                </c:pt>
                <c:pt idx="9">
                  <c:v>85.842879999999994</c:v>
                </c:pt>
                <c:pt idx="10">
                  <c:v>85.053709999999995</c:v>
                </c:pt>
                <c:pt idx="11">
                  <c:v>83.882109999999997</c:v>
                </c:pt>
                <c:pt idx="12">
                  <c:v>82.683980000000005</c:v>
                </c:pt>
                <c:pt idx="13">
                  <c:v>82.211860000000001</c:v>
                </c:pt>
                <c:pt idx="14">
                  <c:v>81.428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Kraj Vysočina</c:v>
                </c:pt>
                <c:pt idx="2">
                  <c:v>Hlavní město Praha</c:v>
                </c:pt>
                <c:pt idx="3">
                  <c:v>Plzeňský kraj</c:v>
                </c:pt>
                <c:pt idx="4">
                  <c:v>Středočeský kraj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3.197559999999996</c:v>
                </c:pt>
                <c:pt idx="1">
                  <c:v>82.145189999999999</c:v>
                </c:pt>
                <c:pt idx="2">
                  <c:v>82.023970000000006</c:v>
                </c:pt>
                <c:pt idx="3">
                  <c:v>81.996089999999995</c:v>
                </c:pt>
                <c:pt idx="4">
                  <c:v>81.560540000000003</c:v>
                </c:pt>
                <c:pt idx="5">
                  <c:v>80.759299999999996</c:v>
                </c:pt>
                <c:pt idx="6">
                  <c:v>79.572119999999998</c:v>
                </c:pt>
                <c:pt idx="7">
                  <c:v>78.490070000000003</c:v>
                </c:pt>
                <c:pt idx="8">
                  <c:v>77.981049999999996</c:v>
                </c:pt>
                <c:pt idx="9">
                  <c:v>77.686539999999994</c:v>
                </c:pt>
                <c:pt idx="10">
                  <c:v>76.611310000000003</c:v>
                </c:pt>
                <c:pt idx="11">
                  <c:v>74.579909999999998</c:v>
                </c:pt>
                <c:pt idx="12">
                  <c:v>71.862750000000005</c:v>
                </c:pt>
                <c:pt idx="13">
                  <c:v>71.276910000000001</c:v>
                </c:pt>
                <c:pt idx="14">
                  <c:v>70.06058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6</c:f>
              <c:strCache>
                <c:ptCount val="35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19 Farmaceutický asistent</c:v>
                </c:pt>
                <c:pt idx="4">
                  <c:v>§ 9 Zdravotní labora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16 Zubní technik</c:v>
                </c:pt>
                <c:pt idx="10">
                  <c:v>§ 26 Odborný pracovník v laboratorních metodách a v přípravě léčivých přípravků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37 Masér ve zdravotnictví, nevidomý a slabozraký masér ve zdravotnictví</c:v>
                </c:pt>
                <c:pt idx="15">
                  <c:v>§ 22 Psycholog ve zdravotnictví</c:v>
                </c:pt>
                <c:pt idx="16">
                  <c:v>§ 10 Zdravotně-sociální pracovník</c:v>
                </c:pt>
                <c:pt idx="17">
                  <c:v>§ 11 Optometrista</c:v>
                </c:pt>
                <c:pt idx="18">
                  <c:v>§ 15 Nutriční terapeut</c:v>
                </c:pt>
                <c:pt idx="19">
                  <c:v>§ 7 Ergoterapeut</c:v>
                </c:pt>
                <c:pt idx="20">
                  <c:v>§ 30 Laboratorní asistent</c:v>
                </c:pt>
                <c:pt idx="21">
                  <c:v>§ 23 Logoped ve zdravotnictví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14 Ortotik-protetik</c:v>
                </c:pt>
                <c:pt idx="28">
                  <c:v>§ 20 Biomedicínský technik</c:v>
                </c:pt>
                <c:pt idx="29">
                  <c:v>§ 31 Ortoticko-protetický technik</c:v>
                </c:pt>
                <c:pt idx="30">
                  <c:v>§ 25 Radiologický fyzik</c:v>
                </c:pt>
                <c:pt idx="31">
                  <c:v>§ 32 Nutriční asistent</c:v>
                </c:pt>
                <c:pt idx="32">
                  <c:v>§ 12 Ortoptista</c:v>
                </c:pt>
                <c:pt idx="33">
                  <c:v>§ 21 Radiologický technik</c:v>
                </c:pt>
                <c:pt idx="34">
                  <c:v>§ 41 Autoptický laborant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2243</c:v>
                </c:pt>
                <c:pt idx="1">
                  <c:v>898</c:v>
                </c:pt>
                <c:pt idx="2">
                  <c:v>745</c:v>
                </c:pt>
                <c:pt idx="3">
                  <c:v>638</c:v>
                </c:pt>
                <c:pt idx="4">
                  <c:v>608</c:v>
                </c:pt>
                <c:pt idx="5">
                  <c:v>508</c:v>
                </c:pt>
                <c:pt idx="6">
                  <c:v>349</c:v>
                </c:pt>
                <c:pt idx="7">
                  <c:v>337</c:v>
                </c:pt>
                <c:pt idx="8">
                  <c:v>281</c:v>
                </c:pt>
                <c:pt idx="9">
                  <c:v>251</c:v>
                </c:pt>
                <c:pt idx="10">
                  <c:v>221</c:v>
                </c:pt>
                <c:pt idx="11">
                  <c:v>220</c:v>
                </c:pt>
                <c:pt idx="12">
                  <c:v>174</c:v>
                </c:pt>
                <c:pt idx="13">
                  <c:v>122</c:v>
                </c:pt>
                <c:pt idx="14">
                  <c:v>114</c:v>
                </c:pt>
                <c:pt idx="15">
                  <c:v>106</c:v>
                </c:pt>
                <c:pt idx="16">
                  <c:v>81</c:v>
                </c:pt>
                <c:pt idx="17">
                  <c:v>81</c:v>
                </c:pt>
                <c:pt idx="18">
                  <c:v>81</c:v>
                </c:pt>
                <c:pt idx="19">
                  <c:v>68</c:v>
                </c:pt>
                <c:pt idx="20">
                  <c:v>65</c:v>
                </c:pt>
                <c:pt idx="21">
                  <c:v>48</c:v>
                </c:pt>
                <c:pt idx="22">
                  <c:v>34</c:v>
                </c:pt>
                <c:pt idx="23">
                  <c:v>21</c:v>
                </c:pt>
                <c:pt idx="24">
                  <c:v>18</c:v>
                </c:pt>
                <c:pt idx="25">
                  <c:v>16</c:v>
                </c:pt>
                <c:pt idx="26">
                  <c:v>13</c:v>
                </c:pt>
                <c:pt idx="27">
                  <c:v>12</c:v>
                </c:pt>
                <c:pt idx="28">
                  <c:v>7</c:v>
                </c:pt>
                <c:pt idx="29">
                  <c:v>7</c:v>
                </c:pt>
                <c:pt idx="30">
                  <c:v>6</c:v>
                </c:pt>
                <c:pt idx="31">
                  <c:v>5</c:v>
                </c:pt>
                <c:pt idx="32">
                  <c:v>4</c:v>
                </c:pt>
                <c:pt idx="33">
                  <c:v>1</c:v>
                </c:pt>
                <c:pt idx="3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3.09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čkování: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3897222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4115013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6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2045998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247914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0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10. 9. 2021</a:t>
            </a:r>
          </a:p>
        </p:txBody>
      </p:sp>
    </p:spTree>
    <p:extLst>
      <p:ext uri="{BB962C8B-B14F-4D97-AF65-F5344CB8AC3E}">
        <p14:creationId xmlns:p14="http://schemas.microsoft.com/office/powerpoint/2010/main" val="4348278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75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0689654"/>
              </p:ext>
            </p:extLst>
          </p:nvPr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09 / 2021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9. 9. 2021</a:t>
            </a:r>
          </a:p>
        </p:txBody>
      </p:sp>
    </p:spTree>
    <p:extLst>
      <p:ext uri="{BB962C8B-B14F-4D97-AF65-F5344CB8AC3E}">
        <p14:creationId xmlns:p14="http://schemas.microsoft.com/office/powerpoint/2010/main" val="11197486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5652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6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0. 9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8712546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3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9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629EBA01-574E-4B55-AF11-520CF4C7ED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9735851"/>
              </p:ext>
            </p:extLst>
          </p:nvPr>
        </p:nvGraphicFramePr>
        <p:xfrm>
          <a:off x="1943099" y="1448593"/>
          <a:ext cx="9946013" cy="4689135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415205992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347899938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733247908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968184042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52751872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32437720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957730625"/>
                    </a:ext>
                  </a:extLst>
                </a:gridCol>
              </a:tblGrid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C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CD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FC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3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6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8E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5590472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6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CC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D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4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2E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442740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6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2A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B1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2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FB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208984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BF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6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3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B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6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5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58093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6E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D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FA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6B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C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8855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7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6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ED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7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979343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FB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A8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EB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C6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FD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596231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7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4A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4B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8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A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59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5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971647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5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B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59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4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B8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6A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F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140888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9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5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BC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BA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2A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C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045694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8A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A8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4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FC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CC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4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174624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D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E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19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5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49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B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525287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C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48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B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A8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B8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1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7024595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A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A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A9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3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E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7A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8041914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2D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1A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B2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B0B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1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5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285048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3" y="614100"/>
            <a:ext cx="1733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10. 9.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025319"/>
              </p:ext>
            </p:extLst>
          </p:nvPr>
        </p:nvGraphicFramePr>
        <p:xfrm>
          <a:off x="302889" y="921878"/>
          <a:ext cx="11586222" cy="5215857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499992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6522" marT="6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3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88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8 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0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 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 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8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5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 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6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 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 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0 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 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 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5 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 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4 (7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 (8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6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2 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 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6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 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 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6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 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 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4 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4 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 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 (7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 (6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 (7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(6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 (7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 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 (6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 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 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 (7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8 (6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6 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 (6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 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6 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2 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06 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346 (7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97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61 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577 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33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429434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5" y="680206"/>
            <a:ext cx="111894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očkovanost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profesních kategoriích zdravotnických pracovníků dosahuje populačně viditelné úrovně </a:t>
            </a:r>
          </a:p>
        </p:txBody>
      </p:sp>
      <p:sp>
        <p:nvSpPr>
          <p:cNvPr id="4" name="Šipka dolů 3"/>
          <p:cNvSpPr/>
          <p:nvPr/>
        </p:nvSpPr>
        <p:spPr>
          <a:xfrm>
            <a:off x="5449172" y="176292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704850" y="2629447"/>
            <a:ext cx="1109662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1. dávku vakcinace 86 % lékařů, 78 % sesterských povolání a 75 % ostatních zdravotnických povolání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449172" y="402214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436754" y="4697632"/>
            <a:ext cx="1118940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í v těchto profesních kategoriích podstatně snížilo denní počet registrovaných nových nákaz 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449172" y="5935253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celkem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374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3218348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1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3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9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 4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 3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2 4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1 5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2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0. 9. 2021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2488E7D-BBBA-434F-B593-669897479465}"/>
              </a:ext>
            </a:extLst>
          </p:cNvPr>
          <p:cNvSpPr/>
          <p:nvPr/>
        </p:nvSpPr>
        <p:spPr>
          <a:xfrm>
            <a:off x="1733551" y="655652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6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10. 9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9759997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4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0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 8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6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3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2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7 6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3 9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8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9. 9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25815" y="370259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808757" y="353332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25815" y="399787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501588" y="4545671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42614330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9. 9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200025" y="1119730"/>
          <a:ext cx="6743700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026513" y="1256231"/>
          <a:ext cx="4848225" cy="5154086"/>
        </p:xfrm>
        <a:graphic>
          <a:graphicData uri="http://schemas.openxmlformats.org/drawingml/2006/table">
            <a:tbl>
              <a:tblPr/>
              <a:tblGrid>
                <a:gridCol w="1485693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40633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46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319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370523-5152-457D-B93C-ABEDC135BF31}"/>
              </a:ext>
            </a:extLst>
          </p:cNvPr>
          <p:cNvGraphicFramePr>
            <a:graphicFrameLocks noGrp="1"/>
          </p:cNvGraphicFramePr>
          <p:nvPr/>
        </p:nvGraphicFramePr>
        <p:xfrm>
          <a:off x="10852149" y="2270188"/>
          <a:ext cx="766457" cy="3611820"/>
        </p:xfrm>
        <a:graphic>
          <a:graphicData uri="http://schemas.openxmlformats.org/drawingml/2006/table">
            <a:tbl>
              <a:tblPr/>
              <a:tblGrid>
                <a:gridCol w="766457">
                  <a:extLst>
                    <a:ext uri="{9D8B030D-6E8A-4147-A177-3AD203B41FA5}">
                      <a16:colId xmlns:a16="http://schemas.microsoft.com/office/drawing/2014/main" val="1135703780"/>
                    </a:ext>
                  </a:extLst>
                </a:gridCol>
              </a:tblGrid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C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7054625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1185773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B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8031154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2583384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C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646202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237035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F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761449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974298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7556195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7898095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631236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3080442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A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8990665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1925007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6288949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9. 9. 2021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4BE2E7C-7C0B-4462-A8B2-9CCE89DCE514}"/>
              </a:ext>
            </a:extLst>
          </p:cNvPr>
          <p:cNvGraphicFramePr>
            <a:graphicFrameLocks noGrp="1"/>
          </p:cNvGraphicFramePr>
          <p:nvPr/>
        </p:nvGraphicFramePr>
        <p:xfrm>
          <a:off x="9296400" y="2009305"/>
          <a:ext cx="1838768" cy="3983610"/>
        </p:xfrm>
        <a:graphic>
          <a:graphicData uri="http://schemas.openxmlformats.org/drawingml/2006/table">
            <a:tbl>
              <a:tblPr/>
              <a:tblGrid>
                <a:gridCol w="1838768">
                  <a:extLst>
                    <a:ext uri="{9D8B030D-6E8A-4147-A177-3AD203B41FA5}">
                      <a16:colId xmlns:a16="http://schemas.microsoft.com/office/drawing/2014/main" val="3800582857"/>
                    </a:ext>
                  </a:extLst>
                </a:gridCol>
              </a:tblGrid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9690474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6339710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9902857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9716944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5826008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8282290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0454950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235326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713165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2267139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3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116446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643974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1848131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7134725"/>
                  </a:ext>
                </a:extLst>
              </a:tr>
              <a:tr h="265574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8095778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5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1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2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3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9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0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22 / 3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3. 9. – 9. 9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390575" y="102272"/>
            <a:ext cx="2706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0. 9. 2021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v akutní lůžkové péči a v záchranné zdravotnické službě: lékaři 86 % a sestry 78 %. </a:t>
            </a:r>
            <a:r>
              <a:rPr kumimoji="0" lang="cs-CZ" sz="32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st</a:t>
            </a:r>
            <a:r>
              <a:rPr lang="cs-CZ" sz="3200" b="1" dirty="0">
                <a:latin typeface="Arial" panose="020B0604020202020204"/>
              </a:rPr>
              <a:t>o 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192</TotalTime>
  <Words>3170</Words>
  <Application>Microsoft Office PowerPoint</Application>
  <PresentationFormat>Širokoúhlá obrazovka</PresentationFormat>
  <Paragraphs>788</Paragraphs>
  <Slides>14</Slides>
  <Notes>13</Notes>
  <HiddenSlides>0</HiddenSlides>
  <MMClips>0</MMClips>
  <ScaleCrop>false</ScaleCrop>
  <HeadingPairs>
    <vt:vector size="6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4</vt:i4>
      </vt:variant>
    </vt:vector>
  </HeadingPairs>
  <TitlesOfParts>
    <vt:vector size="17" baseType="lpstr">
      <vt:lpstr>Arial</vt:lpstr>
      <vt:lpstr>Calibri</vt:lpstr>
      <vt:lpstr>Motiv Office</vt:lpstr>
      <vt:lpstr>Prezentace aplikace PowerPoint</vt:lpstr>
      <vt:lpstr>Očkování zdravotnických pracovníků </vt:lpstr>
      <vt:lpstr>Očkovaní zdravotničtí pracovníci celkem</vt:lpstr>
      <vt:lpstr>Očkovaní aktivní zdravotničtí pracovníci</vt:lpstr>
      <vt:lpstr>Počty pracovníků ve zdravotnictví s nákazou COVID-19</vt:lpstr>
      <vt:lpstr>Počty pracovníků ve zdravotnictví s nákazou COVID-19</vt:lpstr>
      <vt:lpstr>Počty pracovníků ve zdravotnictví s nákazou COVID-19</vt:lpstr>
      <vt:lpstr>Počty pracovníků ve zdravotnictví (ZP) s nákazou COVID-19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-09 / 2021</vt:lpstr>
      <vt:lpstr>Očkovaní aktivní zdravotničtí pracovníci</vt:lpstr>
      <vt:lpstr>Očkovaní NLZP v nemocnicích akutní lůžkové péče a ZZ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706</cp:revision>
  <dcterms:created xsi:type="dcterms:W3CDTF">2020-11-11T17:36:28Z</dcterms:created>
  <dcterms:modified xsi:type="dcterms:W3CDTF">2021-09-13T19:13:00Z</dcterms:modified>
</cp:coreProperties>
</file>